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2" r:id="rId2"/>
  </p:sldMasterIdLst>
  <p:notesMasterIdLst>
    <p:notesMasterId r:id="rId40"/>
  </p:notesMasterIdLst>
  <p:handoutMasterIdLst>
    <p:handoutMasterId r:id="rId41"/>
  </p:handoutMasterIdLst>
  <p:sldIdLst>
    <p:sldId id="453" r:id="rId3"/>
    <p:sldId id="477" r:id="rId4"/>
    <p:sldId id="451" r:id="rId5"/>
    <p:sldId id="497" r:id="rId6"/>
    <p:sldId id="498" r:id="rId7"/>
    <p:sldId id="499" r:id="rId8"/>
    <p:sldId id="500" r:id="rId9"/>
    <p:sldId id="501" r:id="rId10"/>
    <p:sldId id="502" r:id="rId11"/>
    <p:sldId id="503" r:id="rId12"/>
    <p:sldId id="478" r:id="rId13"/>
    <p:sldId id="504" r:id="rId14"/>
    <p:sldId id="505" r:id="rId15"/>
    <p:sldId id="506" r:id="rId16"/>
    <p:sldId id="507" r:id="rId17"/>
    <p:sldId id="508" r:id="rId18"/>
    <p:sldId id="509" r:id="rId19"/>
    <p:sldId id="510" r:id="rId20"/>
    <p:sldId id="511" r:id="rId21"/>
    <p:sldId id="512" r:id="rId22"/>
    <p:sldId id="513" r:id="rId23"/>
    <p:sldId id="514" r:id="rId24"/>
    <p:sldId id="515" r:id="rId25"/>
    <p:sldId id="482" r:id="rId26"/>
    <p:sldId id="484" r:id="rId27"/>
    <p:sldId id="485" r:id="rId28"/>
    <p:sldId id="486" r:id="rId29"/>
    <p:sldId id="487" r:id="rId30"/>
    <p:sldId id="488" r:id="rId31"/>
    <p:sldId id="489" r:id="rId32"/>
    <p:sldId id="490" r:id="rId33"/>
    <p:sldId id="492" r:id="rId34"/>
    <p:sldId id="516" r:id="rId35"/>
    <p:sldId id="493" r:id="rId36"/>
    <p:sldId id="517" r:id="rId37"/>
    <p:sldId id="518" r:id="rId38"/>
    <p:sldId id="454" r:id="rId39"/>
  </p:sldIdLst>
  <p:sldSz cx="9144000" cy="6858000" type="screen4x3"/>
  <p:notesSz cx="6819900" cy="9931400"/>
  <p:defaultTextStyle>
    <a:defPPr>
      <a:defRPr lang="pt-B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00"/>
    <a:srgbClr val="DF4A21"/>
    <a:srgbClr val="339966"/>
    <a:srgbClr val="309C42"/>
    <a:srgbClr val="1F497D"/>
    <a:srgbClr val="7CBF33"/>
    <a:srgbClr val="77A7E1"/>
    <a:srgbClr val="006600"/>
    <a:srgbClr val="E87F62"/>
    <a:srgbClr val="E3E5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Estilo Médio 2 - Ênfase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E3FDE45-AF77-4B5C-9715-49D594BDF05E}" styleName="Estilo Claro 1 - Ênfas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5BE263C-DBD7-4A20-BB59-AAB30ACAA65A}" styleName="Estilo Médio 3 - Ênfas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8D230F3-CF80-4859-8CE7-A43EE81993B5}" styleName="Estilo Claro 1 - Ênfas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D27102A9-8310-4765-A935-A1911B00CA55}" styleName="Estilo Claro 1 - Ênfase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BC89EF96-8CEA-46FF-86C4-4CE0E7609802}" styleName="Estilo Claro 3 - Ênfase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8799B23B-EC83-4686-B30A-512413B5E67A}" styleName="Estilo Claro 3 - Ênfas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463" autoAdjust="0"/>
    <p:restoredTop sz="77071" autoAdjust="0"/>
  </p:normalViewPr>
  <p:slideViewPr>
    <p:cSldViewPr>
      <p:cViewPr>
        <p:scale>
          <a:sx n="60" d="100"/>
          <a:sy n="60" d="100"/>
        </p:scale>
        <p:origin x="-1440" y="-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presProps" Target="pres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55290" cy="496570"/>
          </a:xfrm>
          <a:prstGeom prst="rect">
            <a:avLst/>
          </a:prstGeom>
        </p:spPr>
        <p:txBody>
          <a:bodyPr vert="horz" lIns="95710" tIns="47855" rIns="95710" bIns="47855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63032" y="1"/>
            <a:ext cx="2955290" cy="496570"/>
          </a:xfrm>
          <a:prstGeom prst="rect">
            <a:avLst/>
          </a:prstGeom>
        </p:spPr>
        <p:txBody>
          <a:bodyPr vert="horz" lIns="95710" tIns="47855" rIns="95710" bIns="47855" rtlCol="0"/>
          <a:lstStyle>
            <a:lvl1pPr algn="r">
              <a:defRPr sz="1300"/>
            </a:lvl1pPr>
          </a:lstStyle>
          <a:p>
            <a:fld id="{B81DA9EA-9D3A-4734-A17A-71C06FCC5B09}" type="datetimeFigureOut">
              <a:rPr lang="pt-BR" smtClean="0"/>
              <a:pPr/>
              <a:t>23/10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33107"/>
            <a:ext cx="2955290" cy="496570"/>
          </a:xfrm>
          <a:prstGeom prst="rect">
            <a:avLst/>
          </a:prstGeom>
        </p:spPr>
        <p:txBody>
          <a:bodyPr vert="horz" lIns="95710" tIns="47855" rIns="95710" bIns="47855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63032" y="9433107"/>
            <a:ext cx="2955290" cy="496570"/>
          </a:xfrm>
          <a:prstGeom prst="rect">
            <a:avLst/>
          </a:prstGeom>
        </p:spPr>
        <p:txBody>
          <a:bodyPr vert="horz" lIns="95710" tIns="47855" rIns="95710" bIns="47855" rtlCol="0" anchor="b"/>
          <a:lstStyle>
            <a:lvl1pPr algn="r">
              <a:defRPr sz="1300"/>
            </a:lvl1pPr>
          </a:lstStyle>
          <a:p>
            <a:fld id="{7C3FD9FD-6551-4C39-9604-8510622B9990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573159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55290" cy="496570"/>
          </a:xfrm>
          <a:prstGeom prst="rect">
            <a:avLst/>
          </a:prstGeom>
        </p:spPr>
        <p:txBody>
          <a:bodyPr vert="horz" lIns="95710" tIns="47855" rIns="95710" bIns="47855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63032" y="1"/>
            <a:ext cx="2955290" cy="496570"/>
          </a:xfrm>
          <a:prstGeom prst="rect">
            <a:avLst/>
          </a:prstGeom>
        </p:spPr>
        <p:txBody>
          <a:bodyPr vert="horz" lIns="95710" tIns="47855" rIns="95710" bIns="47855" rtlCol="0"/>
          <a:lstStyle>
            <a:lvl1pPr algn="r">
              <a:defRPr sz="1300"/>
            </a:lvl1pPr>
          </a:lstStyle>
          <a:p>
            <a:fld id="{B6FB1613-5CC2-44CA-82A4-790A20B0896F}" type="datetimeFigureOut">
              <a:rPr lang="pt-BR" smtClean="0"/>
              <a:pPr/>
              <a:t>23/10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28688" y="746125"/>
            <a:ext cx="4962525" cy="37226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710" tIns="47855" rIns="95710" bIns="47855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1990" y="4717415"/>
            <a:ext cx="5455920" cy="4469130"/>
          </a:xfrm>
          <a:prstGeom prst="rect">
            <a:avLst/>
          </a:prstGeom>
        </p:spPr>
        <p:txBody>
          <a:bodyPr vert="horz" lIns="95710" tIns="47855" rIns="95710" bIns="47855" rtlCol="0">
            <a:normAutofit/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55290" cy="496570"/>
          </a:xfrm>
          <a:prstGeom prst="rect">
            <a:avLst/>
          </a:prstGeom>
        </p:spPr>
        <p:txBody>
          <a:bodyPr vert="horz" lIns="95710" tIns="47855" rIns="95710" bIns="47855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63032" y="9433107"/>
            <a:ext cx="2955290" cy="496570"/>
          </a:xfrm>
          <a:prstGeom prst="rect">
            <a:avLst/>
          </a:prstGeom>
        </p:spPr>
        <p:txBody>
          <a:bodyPr vert="horz" lIns="95710" tIns="47855" rIns="95710" bIns="47855" rtlCol="0" anchor="b"/>
          <a:lstStyle>
            <a:lvl1pPr algn="r">
              <a:defRPr sz="1300"/>
            </a:lvl1pPr>
          </a:lstStyle>
          <a:p>
            <a:fld id="{D6FF8D1F-56F5-480D-8417-2C56B9E464D7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81017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883585" eaLnBrk="0" fontAlgn="base" hangingPunct="0">
              <a:spcBef>
                <a:spcPct val="20000"/>
              </a:spcBef>
              <a:spcAft>
                <a:spcPts val="580"/>
              </a:spcAft>
              <a:defRPr/>
            </a:pPr>
            <a:endParaRPr lang="pt-BR" kern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59115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883585" eaLnBrk="0" fontAlgn="base" hangingPunct="0">
              <a:spcBef>
                <a:spcPct val="20000"/>
              </a:spcBef>
              <a:spcAft>
                <a:spcPts val="580"/>
              </a:spcAft>
              <a:defRPr/>
            </a:pPr>
            <a:endParaRPr lang="pt-BR" kern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59115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883585" eaLnBrk="0" fontAlgn="base" hangingPunct="0">
              <a:spcBef>
                <a:spcPct val="20000"/>
              </a:spcBef>
              <a:spcAft>
                <a:spcPts val="580"/>
              </a:spcAft>
              <a:defRPr/>
            </a:pPr>
            <a:endParaRPr lang="pt-BR" kern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59115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883585" eaLnBrk="0" fontAlgn="base" hangingPunct="0">
              <a:spcBef>
                <a:spcPct val="20000"/>
              </a:spcBef>
              <a:spcAft>
                <a:spcPts val="580"/>
              </a:spcAft>
              <a:defRPr/>
            </a:pPr>
            <a:endParaRPr lang="pt-BR" kern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1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59115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883585" eaLnBrk="0" fontAlgn="base" hangingPunct="0">
              <a:spcBef>
                <a:spcPct val="20000"/>
              </a:spcBef>
              <a:spcAft>
                <a:spcPts val="580"/>
              </a:spcAft>
              <a:defRPr/>
            </a:pPr>
            <a:endParaRPr lang="pt-BR" kern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1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59115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883585" eaLnBrk="0" fontAlgn="base" hangingPunct="0">
              <a:spcBef>
                <a:spcPct val="20000"/>
              </a:spcBef>
              <a:spcAft>
                <a:spcPts val="580"/>
              </a:spcAft>
              <a:defRPr/>
            </a:pPr>
            <a:endParaRPr lang="pt-BR" kern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1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591157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883585" eaLnBrk="0" fontAlgn="base" hangingPunct="0">
              <a:spcBef>
                <a:spcPct val="20000"/>
              </a:spcBef>
              <a:spcAft>
                <a:spcPts val="580"/>
              </a:spcAft>
              <a:defRPr/>
            </a:pPr>
            <a:endParaRPr lang="pt-BR" kern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1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591157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883585" eaLnBrk="0" fontAlgn="base" hangingPunct="0">
              <a:spcBef>
                <a:spcPct val="20000"/>
              </a:spcBef>
              <a:spcAft>
                <a:spcPts val="580"/>
              </a:spcAft>
              <a:defRPr/>
            </a:pPr>
            <a:endParaRPr lang="pt-BR" kern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2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591157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883585" eaLnBrk="0" fontAlgn="base" hangingPunct="0">
              <a:spcBef>
                <a:spcPct val="20000"/>
              </a:spcBef>
              <a:spcAft>
                <a:spcPts val="580"/>
              </a:spcAft>
              <a:defRPr/>
            </a:pPr>
            <a:endParaRPr lang="pt-BR" kern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591157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883585" eaLnBrk="0" fontAlgn="base" hangingPunct="0">
              <a:spcBef>
                <a:spcPct val="20000"/>
              </a:spcBef>
              <a:spcAft>
                <a:spcPts val="580"/>
              </a:spcAft>
              <a:defRPr/>
            </a:pPr>
            <a:endParaRPr lang="pt-BR" kern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2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591157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883585" eaLnBrk="0" fontAlgn="base" hangingPunct="0">
              <a:spcBef>
                <a:spcPct val="20000"/>
              </a:spcBef>
              <a:spcAft>
                <a:spcPts val="580"/>
              </a:spcAft>
              <a:defRPr/>
            </a:pPr>
            <a:endParaRPr lang="pt-BR" kern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2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59115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883585" eaLnBrk="0" fontAlgn="base" hangingPunct="0">
              <a:spcBef>
                <a:spcPct val="20000"/>
              </a:spcBef>
              <a:spcAft>
                <a:spcPts val="580"/>
              </a:spcAft>
              <a:defRPr/>
            </a:pPr>
            <a:endParaRPr lang="pt-BR" kern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591157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25</a:t>
            </a:fld>
            <a:endParaRPr lang="pt-BR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Previsão Atual/2015:</a:t>
            </a:r>
          </a:p>
          <a:p>
            <a:pPr>
              <a:buFontTx/>
              <a:buChar char="-"/>
            </a:pPr>
            <a:r>
              <a:rPr lang="pt-BR" baseline="0" dirty="0" smtClean="0"/>
              <a:t> 34 Núcleos BH Cid; </a:t>
            </a:r>
          </a:p>
          <a:p>
            <a:pPr>
              <a:buFontTx/>
              <a:buChar char="-"/>
            </a:pPr>
            <a:r>
              <a:rPr lang="pt-BR" baseline="0" dirty="0" smtClean="0"/>
              <a:t> 750 famílias atendidas BH Sem Miséria;</a:t>
            </a:r>
          </a:p>
          <a:p>
            <a:pPr>
              <a:buFontTx/>
              <a:buChar char="-"/>
            </a:pPr>
            <a:r>
              <a:rPr lang="pt-BR" baseline="0" dirty="0" smtClean="0"/>
              <a:t> 20 mil atendimentos no CRPI;</a:t>
            </a:r>
          </a:p>
          <a:p>
            <a:pPr>
              <a:buFontTx/>
              <a:buChar char="-"/>
            </a:pPr>
            <a:r>
              <a:rPr lang="pt-BR" baseline="0" dirty="0" smtClean="0"/>
              <a:t> 170 mil famílias no Serviço de Proteção e </a:t>
            </a:r>
            <a:r>
              <a:rPr lang="pt-BR" baseline="0" dirty="0" err="1" smtClean="0"/>
              <a:t>Atend</a:t>
            </a:r>
            <a:r>
              <a:rPr lang="pt-BR" baseline="0" dirty="0" smtClean="0"/>
              <a:t>. Integral;</a:t>
            </a:r>
          </a:p>
          <a:p>
            <a:pPr>
              <a:buFontTx/>
              <a:buChar char="-"/>
            </a:pPr>
            <a:r>
              <a:rPr lang="pt-BR" baseline="0" dirty="0" smtClean="0"/>
              <a:t> Combate Trabalho Infantil: 612 crianças;</a:t>
            </a:r>
          </a:p>
          <a:p>
            <a:pPr>
              <a:buFontTx/>
              <a:buChar char="-"/>
            </a:pPr>
            <a:r>
              <a:rPr lang="pt-BR" baseline="0" dirty="0" smtClean="0"/>
              <a:t> 6.000 idosos atendidos no Grupo de Convivência;</a:t>
            </a:r>
          </a:p>
          <a:p>
            <a:pPr>
              <a:buFontTx/>
              <a:buChar char="-"/>
            </a:pPr>
            <a:r>
              <a:rPr lang="pt-BR" baseline="0" dirty="0" smtClean="0"/>
              <a:t> Centro Ref. Juventude: em convênio com o Estado MG, equipamento público com espaços multiuso (arte, cultura, esportes, comunicação, etc.).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26</a:t>
            </a:fld>
            <a:endParaRPr lang="pt-BR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Previsão Atual/2015:</a:t>
            </a:r>
          </a:p>
          <a:p>
            <a:pPr>
              <a:buFontTx/>
              <a:buChar char="-"/>
            </a:pPr>
            <a:r>
              <a:rPr lang="pt-BR" dirty="0" smtClean="0"/>
              <a:t> PROMETI: 3.200 vagas;</a:t>
            </a:r>
          </a:p>
          <a:p>
            <a:pPr>
              <a:buFontTx/>
              <a:buChar char="-"/>
            </a:pPr>
            <a:r>
              <a:rPr lang="pt-BR" dirty="0" smtClean="0"/>
              <a:t> RP: 3.500.000 refeições;</a:t>
            </a:r>
            <a:r>
              <a:rPr lang="pt-BR" baseline="0" dirty="0" smtClean="0"/>
              <a:t> (RP II em reforma);</a:t>
            </a:r>
          </a:p>
          <a:p>
            <a:pPr>
              <a:buFontTx/>
              <a:buChar char="-"/>
            </a:pPr>
            <a:r>
              <a:rPr lang="pt-BR" baseline="0" dirty="0" smtClean="0"/>
              <a:t> Acad. Céu Aberto: aprox. 380;</a:t>
            </a:r>
          </a:p>
          <a:p>
            <a:pPr>
              <a:buFontTx/>
              <a:buChar char="-"/>
            </a:pPr>
            <a:r>
              <a:rPr lang="pt-BR" baseline="0" dirty="0" smtClean="0"/>
              <a:t> Segundo Tempo: </a:t>
            </a:r>
            <a:r>
              <a:rPr lang="pt-BR" baseline="0" dirty="0" smtClean="0">
                <a:solidFill>
                  <a:srgbClr val="FF0000"/>
                </a:solidFill>
              </a:rPr>
              <a:t>20.000 atendimentos;</a:t>
            </a:r>
          </a:p>
          <a:p>
            <a:pPr>
              <a:buFontTx/>
              <a:buChar char="-"/>
            </a:pPr>
            <a:r>
              <a:rPr lang="pt-BR" sz="1200" dirty="0" smtClean="0"/>
              <a:t>Programa Vida Ativa: 5.000 idosos participantes;</a:t>
            </a:r>
            <a:endParaRPr lang="pt-BR" baseline="0" dirty="0" smtClean="0">
              <a:solidFill>
                <a:srgbClr val="FF0000"/>
              </a:solidFill>
            </a:endParaRPr>
          </a:p>
          <a:p>
            <a:pPr>
              <a:buFontTx/>
              <a:buChar char="-"/>
            </a:pPr>
            <a:r>
              <a:rPr lang="pt-BR" sz="1200" dirty="0" smtClean="0"/>
              <a:t> Projeto Caminhar / BH Cidadania: 39.500 atendimentos.</a:t>
            </a:r>
            <a:endParaRPr lang="pt-BR" dirty="0">
              <a:solidFill>
                <a:srgbClr val="FF0000"/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27</a:t>
            </a:fld>
            <a:endParaRPr lang="pt-BR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b="1" dirty="0" smtClean="0"/>
              <a:t>OP Criança e </a:t>
            </a:r>
            <a:r>
              <a:rPr lang="pt-BR" b="1" dirty="0" err="1" smtClean="0"/>
              <a:t>Adoles</a:t>
            </a:r>
            <a:r>
              <a:rPr lang="pt-BR" b="1" dirty="0" smtClean="0"/>
              <a:t>.: </a:t>
            </a:r>
            <a:r>
              <a:rPr lang="pt-BR" dirty="0" smtClean="0"/>
              <a:t>iniciou em outubro/14, continuidade em</a:t>
            </a:r>
            <a:r>
              <a:rPr lang="pt-BR" baseline="0" dirty="0" smtClean="0"/>
              <a:t> 2015 e 2016.</a:t>
            </a:r>
          </a:p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28</a:t>
            </a:fld>
            <a:endParaRPr lang="pt-BR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Previsão Atual/2015:</a:t>
            </a:r>
          </a:p>
          <a:p>
            <a:r>
              <a:rPr lang="pt-BR" dirty="0" smtClean="0"/>
              <a:t>-</a:t>
            </a:r>
            <a:r>
              <a:rPr lang="pt-BR" baseline="0" dirty="0" smtClean="0"/>
              <a:t> Formação de prof. Ed. Infantil: 4.680;</a:t>
            </a:r>
          </a:p>
          <a:p>
            <a:pPr>
              <a:buFontTx/>
              <a:buChar char="-"/>
            </a:pPr>
            <a:r>
              <a:rPr lang="pt-BR" baseline="0" dirty="0" smtClean="0"/>
              <a:t> Ensino Fundamental: 151 mil alunos;</a:t>
            </a:r>
          </a:p>
          <a:p>
            <a:pPr>
              <a:buFontTx/>
              <a:buChar char="-"/>
            </a:pPr>
            <a:r>
              <a:rPr lang="pt-BR" baseline="0" dirty="0" smtClean="0"/>
              <a:t> Ed. Infantil: 42 mil;</a:t>
            </a:r>
          </a:p>
          <a:p>
            <a:pPr>
              <a:buFontTx/>
              <a:buChar char="-"/>
            </a:pPr>
            <a:r>
              <a:rPr lang="pt-BR" baseline="0" dirty="0" smtClean="0"/>
              <a:t> Creches </a:t>
            </a:r>
            <a:r>
              <a:rPr lang="pt-BR" baseline="0" dirty="0" err="1" smtClean="0"/>
              <a:t>conv</a:t>
            </a:r>
            <a:r>
              <a:rPr lang="pt-BR" baseline="0" dirty="0" smtClean="0"/>
              <a:t>.: 23 mil;</a:t>
            </a:r>
          </a:p>
          <a:p>
            <a:pPr>
              <a:buFontTx/>
              <a:buChar char="-"/>
            </a:pPr>
            <a:r>
              <a:rPr lang="pt-BR" baseline="0" dirty="0" smtClean="0"/>
              <a:t> Transporte Escolar: 6.400 alunos + 587 alunos com deficiência.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29</a:t>
            </a:fld>
            <a:endParaRPr lang="pt-BR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Previsão Atual/2015:</a:t>
            </a:r>
          </a:p>
          <a:p>
            <a:pPr>
              <a:buFontTx/>
              <a:buChar char="-"/>
            </a:pPr>
            <a:r>
              <a:rPr lang="pt-BR" dirty="0" smtClean="0"/>
              <a:t> Escola Integrada</a:t>
            </a:r>
            <a:r>
              <a:rPr lang="pt-BR" baseline="0" dirty="0" smtClean="0"/>
              <a:t> - </a:t>
            </a:r>
            <a:r>
              <a:rPr lang="pt-BR" dirty="0" smtClean="0"/>
              <a:t>65 mil vagas;</a:t>
            </a:r>
          </a:p>
          <a:p>
            <a:pPr>
              <a:buFontTx/>
              <a:buChar char="-"/>
            </a:pPr>
            <a:r>
              <a:rPr lang="pt-BR" baseline="0" dirty="0" smtClean="0"/>
              <a:t> Escola Aberta: o mesmo;</a:t>
            </a:r>
          </a:p>
          <a:p>
            <a:pPr>
              <a:buFontTx/>
              <a:buChar char="-"/>
            </a:pPr>
            <a:r>
              <a:rPr lang="pt-BR" baseline="0" dirty="0" smtClean="0"/>
              <a:t> Escola nas Férias: 95 mil participações;</a:t>
            </a:r>
          </a:p>
          <a:p>
            <a:pPr>
              <a:buFontTx/>
              <a:buChar char="-"/>
            </a:pPr>
            <a:r>
              <a:rPr lang="pt-BR" baseline="0" dirty="0" smtClean="0"/>
              <a:t> Saúde na Escola: 98 mil.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30</a:t>
            </a:fld>
            <a:endParaRPr lang="pt-BR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Previsão Atual/2015:</a:t>
            </a:r>
          </a:p>
          <a:p>
            <a:pPr>
              <a:buFontTx/>
              <a:buChar char="-"/>
            </a:pPr>
            <a:r>
              <a:rPr lang="pt-BR" dirty="0" smtClean="0"/>
              <a:t> Vigilância dengue: o mesmo;</a:t>
            </a:r>
          </a:p>
          <a:p>
            <a:pPr>
              <a:buFontTx/>
              <a:buChar char="-"/>
            </a:pPr>
            <a:r>
              <a:rPr lang="pt-BR" baseline="0" dirty="0" smtClean="0"/>
              <a:t> Rede de Urgência: 1.050.000 </a:t>
            </a:r>
            <a:r>
              <a:rPr lang="pt-BR" baseline="0" dirty="0" err="1" smtClean="0"/>
              <a:t>atendim</a:t>
            </a:r>
            <a:r>
              <a:rPr lang="pt-BR" baseline="0" dirty="0" smtClean="0"/>
              <a:t>.;</a:t>
            </a:r>
          </a:p>
          <a:p>
            <a:pPr>
              <a:buFontTx/>
              <a:buChar char="-"/>
            </a:pPr>
            <a:r>
              <a:rPr lang="pt-BR" baseline="0" dirty="0" smtClean="0"/>
              <a:t> Atenção Primária: 2,5 milhão de consultas;</a:t>
            </a:r>
          </a:p>
          <a:p>
            <a:pPr>
              <a:buFontTx/>
              <a:buChar char="-"/>
            </a:pPr>
            <a:r>
              <a:rPr lang="pt-BR" baseline="0" dirty="0" smtClean="0"/>
              <a:t> Rede Hospitalar: 222 mil internações.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31</a:t>
            </a:fld>
            <a:endParaRPr lang="pt-BR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dirty="0" smtClean="0"/>
              <a:t>Atual:</a:t>
            </a:r>
          </a:p>
          <a:p>
            <a:pPr>
              <a:buFontTx/>
              <a:buChar char="-"/>
            </a:pPr>
            <a:r>
              <a:rPr lang="pt-BR" dirty="0" smtClean="0"/>
              <a:t> </a:t>
            </a:r>
            <a:r>
              <a:rPr lang="pt-BR" dirty="0" err="1" smtClean="0"/>
              <a:t>Oper</a:t>
            </a:r>
            <a:r>
              <a:rPr lang="pt-BR" dirty="0" smtClean="0"/>
              <a:t>. Oxigênio: 7.000</a:t>
            </a:r>
            <a:r>
              <a:rPr lang="pt-BR" baseline="0" dirty="0" smtClean="0"/>
              <a:t> vistorias;</a:t>
            </a:r>
          </a:p>
          <a:p>
            <a:pPr>
              <a:buFontTx/>
              <a:buChar char="-"/>
            </a:pPr>
            <a:r>
              <a:rPr lang="pt-BR" baseline="0" dirty="0" smtClean="0"/>
              <a:t> Cobertura Limpeza de Vias: 708 mil km;</a:t>
            </a:r>
          </a:p>
          <a:p>
            <a:pPr>
              <a:buFontTx/>
              <a:buChar char="-"/>
            </a:pPr>
            <a:r>
              <a:rPr lang="pt-BR" baseline="0" dirty="0" smtClean="0"/>
              <a:t> Coleta Res. Sólidos: 775 mil ton.</a:t>
            </a:r>
          </a:p>
          <a:p>
            <a:pPr>
              <a:buFontTx/>
              <a:buChar char="-"/>
            </a:pPr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3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3788314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buFontTx/>
              <a:buChar char="-"/>
            </a:pPr>
            <a:endParaRPr lang="pt-BR" baseline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3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37883148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Previsão Atual/2015:</a:t>
            </a:r>
          </a:p>
          <a:p>
            <a:pPr>
              <a:buFontTx/>
              <a:buChar char="-"/>
            </a:pPr>
            <a:r>
              <a:rPr lang="pt-BR" dirty="0" smtClean="0"/>
              <a:t> Bolsa Moradia:</a:t>
            </a:r>
            <a:r>
              <a:rPr lang="pt-BR" baseline="0" dirty="0" smtClean="0"/>
              <a:t> 3.232 famílias;</a:t>
            </a:r>
          </a:p>
          <a:p>
            <a:pPr>
              <a:buFontTx/>
              <a:buChar char="-"/>
            </a:pPr>
            <a:r>
              <a:rPr lang="pt-BR" baseline="0" dirty="0" smtClean="0"/>
              <a:t> Vila Viva: continuidade das obras de intervenção estrutural;</a:t>
            </a:r>
          </a:p>
          <a:p>
            <a:pPr>
              <a:buFontTx/>
              <a:buChar char="-"/>
            </a:pPr>
            <a:r>
              <a:rPr lang="pt-BR" baseline="0" dirty="0" smtClean="0"/>
              <a:t> Regularização e titulação: 7.240 (Vila e Favela) e 1.521 atendimentos (Moradias/unidades </a:t>
            </a:r>
            <a:r>
              <a:rPr lang="pt-BR" baseline="0" smtClean="0"/>
              <a:t>implantadas pela PBH)</a:t>
            </a:r>
            <a:endParaRPr lang="pt-BR" baseline="0" dirty="0" smtClean="0"/>
          </a:p>
          <a:p>
            <a:pPr>
              <a:buFontTx/>
              <a:buChar char="-"/>
            </a:pPr>
            <a:r>
              <a:rPr lang="pt-BR" baseline="0" dirty="0" smtClean="0"/>
              <a:t> Produção moradias para reassentamento (</a:t>
            </a:r>
            <a:r>
              <a:rPr lang="pt-BR" baseline="0" dirty="0" err="1" smtClean="0"/>
              <a:t>prog</a:t>
            </a:r>
            <a:r>
              <a:rPr lang="pt-BR" baseline="0" dirty="0" smtClean="0"/>
              <a:t>. Vila Viva): 1.125.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34</a:t>
            </a:fld>
            <a:endParaRPr lang="pt-BR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883585" eaLnBrk="0" fontAlgn="base" hangingPunct="0">
              <a:spcBef>
                <a:spcPct val="20000"/>
              </a:spcBef>
              <a:spcAft>
                <a:spcPts val="580"/>
              </a:spcAft>
              <a:defRPr/>
            </a:pPr>
            <a:endParaRPr lang="pt-BR" kern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5911578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pt-BR" dirty="0" smtClean="0"/>
              <a:t>Previsão Atual/2015:</a:t>
            </a:r>
          </a:p>
          <a:p>
            <a:pPr>
              <a:buFontTx/>
              <a:buChar char="-"/>
            </a:pPr>
            <a:r>
              <a:rPr lang="pt-BR" dirty="0" smtClean="0"/>
              <a:t> Bolsa Moradia:</a:t>
            </a:r>
            <a:r>
              <a:rPr lang="pt-BR" baseline="0" dirty="0" smtClean="0"/>
              <a:t> 3.232 famílias;</a:t>
            </a:r>
          </a:p>
          <a:p>
            <a:pPr>
              <a:buFontTx/>
              <a:buChar char="-"/>
            </a:pPr>
            <a:r>
              <a:rPr lang="pt-BR" baseline="0" dirty="0" smtClean="0"/>
              <a:t> Vila Viva: continuidade das obras de intervenção estrutural;</a:t>
            </a:r>
          </a:p>
          <a:p>
            <a:pPr>
              <a:buFontTx/>
              <a:buChar char="-"/>
            </a:pPr>
            <a:r>
              <a:rPr lang="pt-BR" baseline="0" dirty="0" smtClean="0"/>
              <a:t> Regularização e titulação: 7.240 (Vila e Favela) e 1.521 atendimentos (Moradias/unidades </a:t>
            </a:r>
            <a:r>
              <a:rPr lang="pt-BR" baseline="0" smtClean="0"/>
              <a:t>implantadas pela PBH)</a:t>
            </a:r>
            <a:endParaRPr lang="pt-BR" baseline="0" dirty="0" smtClean="0"/>
          </a:p>
          <a:p>
            <a:pPr>
              <a:buFontTx/>
              <a:buChar char="-"/>
            </a:pPr>
            <a:r>
              <a:rPr lang="pt-BR" baseline="0" dirty="0" smtClean="0"/>
              <a:t> Produção moradias para reassentamento (</a:t>
            </a:r>
            <a:r>
              <a:rPr lang="pt-BR" baseline="0" dirty="0" err="1" smtClean="0"/>
              <a:t>prog</a:t>
            </a:r>
            <a:r>
              <a:rPr lang="pt-BR" baseline="0" dirty="0" smtClean="0"/>
              <a:t>. Vila Viva): 1.125.</a:t>
            </a:r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35</a:t>
            </a:fld>
            <a:endParaRPr lang="pt-BR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883585" eaLnBrk="0" fontAlgn="base" hangingPunct="0">
              <a:spcBef>
                <a:spcPct val="20000"/>
              </a:spcBef>
              <a:spcAft>
                <a:spcPts val="580"/>
              </a:spcAft>
              <a:defRPr/>
            </a:pPr>
            <a:endParaRPr lang="pt-BR" kern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59115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883585" eaLnBrk="0" fontAlgn="base" hangingPunct="0">
              <a:spcBef>
                <a:spcPct val="20000"/>
              </a:spcBef>
              <a:spcAft>
                <a:spcPts val="580"/>
              </a:spcAft>
              <a:defRPr/>
            </a:pPr>
            <a:endParaRPr lang="pt-BR" kern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59115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883585" eaLnBrk="0" fontAlgn="base" hangingPunct="0">
              <a:spcBef>
                <a:spcPct val="20000"/>
              </a:spcBef>
              <a:spcAft>
                <a:spcPts val="580"/>
              </a:spcAft>
              <a:defRPr/>
            </a:pPr>
            <a:endParaRPr lang="pt-BR" kern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59115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883585" eaLnBrk="0" fontAlgn="base" hangingPunct="0">
              <a:spcBef>
                <a:spcPct val="20000"/>
              </a:spcBef>
              <a:spcAft>
                <a:spcPts val="580"/>
              </a:spcAft>
              <a:defRPr/>
            </a:pPr>
            <a:endParaRPr lang="pt-BR" kern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59115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883585" eaLnBrk="0" fontAlgn="base" hangingPunct="0">
              <a:spcBef>
                <a:spcPct val="20000"/>
              </a:spcBef>
              <a:spcAft>
                <a:spcPts val="580"/>
              </a:spcAft>
              <a:defRPr/>
            </a:pPr>
            <a:endParaRPr lang="pt-BR" kern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591157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883585" eaLnBrk="0" fontAlgn="base" hangingPunct="0">
              <a:spcBef>
                <a:spcPct val="20000"/>
              </a:spcBef>
              <a:spcAft>
                <a:spcPts val="580"/>
              </a:spcAft>
              <a:defRPr/>
            </a:pPr>
            <a:endParaRPr lang="pt-BR" kern="0" dirty="0" smtClean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FF8D1F-56F5-480D-8417-2C56B9E464D7}" type="slidenum">
              <a:rPr lang="pt-BR" smtClean="0"/>
              <a:pPr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195911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A60C9C-54F9-4CA4-87C2-CDD381A592B3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F2E660-77B3-4580-A641-0EBE4D674596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44E9AD-D913-480A-9D2A-A3AA53DE9BDA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77B4A1F-DD29-4541-B98F-9193D92190B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958030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10C71A3-F83E-4209-BD61-5FE2FF8745EE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760539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C227A53-3E57-476C-B2B3-E9EE633CCEBC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0838880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C7AF7B7-1DA0-49F0-8960-B7E8E80A5009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1423293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8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39C2827-A5CF-42F8-AFA8-1B49887F90C8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58078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A41AAC5-4F5F-48FE-A2F9-FED25E0F836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4954005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C7A5E28D-5E35-4E19-9BBB-83BA5E741E76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6642609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25D773B-05E5-435F-91C9-69323899C7E7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369483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B687F6-80C2-419B-94A8-E88ED6944FC2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D5F86E3-3AC9-4C3B-AA82-74A79A14D9CF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305280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8172612-E519-4D39-8FF3-5030E5CC56CD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5324481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FDFA1E2-F995-41DE-A8D8-A21967567E96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386327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8757B2-B951-46A4-8E4B-DD506336ECAB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8756BB-A97D-4C3D-BA34-B966DF0AF86E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16D75F-B33D-4FDB-8322-5F95EE3725E4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36E56A-AA33-43B2-97F2-AEDB9F536A3F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D1F29C-79D5-48E8-AD42-EEBC83813381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D8A442-DC73-44BF-AC02-36208D376D05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estilo d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t-BR" noProof="0" smtClean="0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s estilos do texto mestre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FD8F88-F70F-4381-9E55-6DEC09EDF8A8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estilo do título mestr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smtClean="0"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>
              <a:defRPr sz="1400" smtClean="0"/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smtClean="0"/>
            </a:lvl1pPr>
          </a:lstStyle>
          <a:p>
            <a:pPr>
              <a:defRPr/>
            </a:pPr>
            <a:fld id="{EDEFF818-89BC-4142-B88A-DF52FB2CD575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 estilo do título mestre</a:t>
            </a:r>
          </a:p>
        </p:txBody>
      </p:sp>
      <p:sp>
        <p:nvSpPr>
          <p:cNvPr id="3075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smtClean="0"/>
              <a:t>Clique para editar os estilos d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prstClr val="black">
                    <a:tint val="75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prstClr val="black">
                    <a:tint val="75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prstClr val="black">
                    <a:tint val="75000"/>
                  </a:prstClr>
                </a:solidFill>
                <a:latin typeface="Arial" charset="0"/>
              </a:defRPr>
            </a:lvl1pPr>
          </a:lstStyle>
          <a:p>
            <a:pPr>
              <a:defRPr/>
            </a:pPr>
            <a:fld id="{0579B806-E337-4609-AC12-790EEE2D42AA}" type="slidenum">
              <a:rPr lang="pt-BR"/>
              <a:pPr>
                <a:defRPr/>
              </a:pPr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66260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w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4" Type="http://schemas.openxmlformats.org/officeDocument/2006/relationships/image" Target="../media/image3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18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7.gif"/><Relationship Id="rId5" Type="http://schemas.openxmlformats.org/officeDocument/2006/relationships/image" Target="../media/image16.gif"/><Relationship Id="rId4" Type="http://schemas.openxmlformats.org/officeDocument/2006/relationships/hyperlink" Target="http://ouvidoriageral.pbh.gov.br/tag" TargetMode="Externa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aixaDeTexto 3"/>
          <p:cNvSpPr txBox="1"/>
          <p:nvPr/>
        </p:nvSpPr>
        <p:spPr>
          <a:xfrm>
            <a:off x="1403648" y="132398"/>
            <a:ext cx="67687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dirty="0" smtClean="0">
                <a:solidFill>
                  <a:schemeClr val="bg1"/>
                </a:solidFill>
              </a:rPr>
              <a:t>Secretaria Municipal de Planejamento, Orçamento e informação</a:t>
            </a:r>
          </a:p>
          <a:p>
            <a:pPr algn="ctr"/>
            <a:r>
              <a:rPr lang="pt-BR" dirty="0" smtClean="0">
                <a:solidFill>
                  <a:schemeClr val="bg1"/>
                </a:solidFill>
              </a:rPr>
              <a:t>Secretaria Municipal Adjunta de Orçamento</a:t>
            </a:r>
            <a:endParaRPr lang="pt-BR" dirty="0">
              <a:solidFill>
                <a:schemeClr val="bg1"/>
              </a:solidFill>
            </a:endParaRPr>
          </a:p>
        </p:txBody>
      </p:sp>
      <p:sp>
        <p:nvSpPr>
          <p:cNvPr id="17410" name="AutoShape 2" descr="Exibindo SMPL_CAPA_ORÇAMENTOPROGRAMA_1_28082014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pt-BR"/>
          </a:p>
        </p:txBody>
      </p:sp>
      <p:pic>
        <p:nvPicPr>
          <p:cNvPr id="1026" name="Picture 2" descr="D:\Backup Denise\Gerência PPAG atual\Docs 2015\LOA 2016 e Revisão PPAG 2016_2017\Audiências Públicas\SMPL_CAPA_ORÇAMENTOPROGRAMA_3 (2)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54837" y="0"/>
            <a:ext cx="9253674" cy="6858000"/>
          </a:xfrm>
          <a:prstGeom prst="rect">
            <a:avLst/>
          </a:prstGeom>
          <a:noFill/>
        </p:spPr>
      </p:pic>
      <p:pic>
        <p:nvPicPr>
          <p:cNvPr id="1028" name="Picture 4" descr="D:\Backup Denise\Gerência PPAG atual\Docs 2015\LOA 2016 e Revisão PPAG 2016_2017\Audiências Públicas\SMPL_CAPA_ORÇAMENTOPROGRAMA_3 (2).jpg"/>
          <p:cNvPicPr>
            <a:picLocks noChangeAspect="1" noChangeArrowheads="1"/>
          </p:cNvPicPr>
          <p:nvPr/>
        </p:nvPicPr>
        <p:blipFill>
          <a:blip r:embed="rId2" cstate="print"/>
          <a:srcRect l="67500" b="81110"/>
          <a:stretch>
            <a:fillRect/>
          </a:stretch>
        </p:blipFill>
        <p:spPr bwMode="auto">
          <a:xfrm>
            <a:off x="6469360" y="980728"/>
            <a:ext cx="2674640" cy="1152128"/>
          </a:xfrm>
          <a:prstGeom prst="rect">
            <a:avLst/>
          </a:prstGeom>
          <a:noFill/>
        </p:spPr>
      </p:pic>
      <p:sp>
        <p:nvSpPr>
          <p:cNvPr id="10" name="CaixaDeTexto 9"/>
          <p:cNvSpPr txBox="1"/>
          <p:nvPr/>
        </p:nvSpPr>
        <p:spPr>
          <a:xfrm>
            <a:off x="2771800" y="6519446"/>
            <a:ext cx="98296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600" b="1" dirty="0" smtClean="0"/>
              <a:t>23/10/15</a:t>
            </a:r>
            <a:endParaRPr lang="pt-BR" sz="1600" b="1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467544" y="5159514"/>
            <a:ext cx="5256584" cy="861774"/>
          </a:xfrm>
          <a:prstGeom prst="rect">
            <a:avLst/>
          </a:prstGeom>
          <a:solidFill>
            <a:schemeClr val="bg1"/>
          </a:solidFill>
          <a:ln>
            <a:solidFill>
              <a:srgbClr val="3366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600" b="1" dirty="0" smtClean="0"/>
              <a:t>Secretaria Municipal de Planejamento, Orçamento e Informação</a:t>
            </a:r>
          </a:p>
          <a:p>
            <a:pPr algn="ctr"/>
            <a:r>
              <a:rPr lang="pt-BR" sz="1600" b="1" dirty="0" smtClean="0"/>
              <a:t>Sec. Mun. Adjunta de Orçamento</a:t>
            </a:r>
            <a:endParaRPr lang="pt-BR" sz="1400" b="1" dirty="0"/>
          </a:p>
        </p:txBody>
      </p:sp>
    </p:spTree>
    <p:extLst>
      <p:ext uri="{BB962C8B-B14F-4D97-AF65-F5344CB8AC3E}">
        <p14:creationId xmlns:p14="http://schemas.microsoft.com/office/powerpoint/2010/main" val="24451211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AutoShape 2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4820" name="AutoShape 4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1" name="CaixaDeTexto 1"/>
          <p:cNvSpPr txBox="1">
            <a:spLocks noChangeArrowheads="1"/>
          </p:cNvSpPr>
          <p:nvPr/>
        </p:nvSpPr>
        <p:spPr bwMode="auto">
          <a:xfrm>
            <a:off x="35496" y="251937"/>
            <a:ext cx="748883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3200" b="1" dirty="0" smtClean="0">
                <a:solidFill>
                  <a:schemeClr val="tx2"/>
                </a:solidFill>
              </a:rPr>
              <a:t>   Renúncia </a:t>
            </a:r>
            <a:r>
              <a:rPr lang="pt-BR" sz="3200" b="1" dirty="0">
                <a:solidFill>
                  <a:schemeClr val="tx2"/>
                </a:solidFill>
              </a:rPr>
              <a:t>da Receita</a:t>
            </a:r>
          </a:p>
        </p:txBody>
      </p:sp>
      <p:sp>
        <p:nvSpPr>
          <p:cNvPr id="12" name="CaixaDeTexto 11"/>
          <p:cNvSpPr txBox="1"/>
          <p:nvPr/>
        </p:nvSpPr>
        <p:spPr>
          <a:xfrm>
            <a:off x="7160014" y="1784105"/>
            <a:ext cx="9957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Em R$ 1,00</a:t>
            </a:r>
            <a:endParaRPr lang="pt-BR" sz="1200" i="1" dirty="0"/>
          </a:p>
        </p:txBody>
      </p:sp>
      <p:sp>
        <p:nvSpPr>
          <p:cNvPr id="13" name="CaixaDeTexto 12"/>
          <p:cNvSpPr txBox="1"/>
          <p:nvPr/>
        </p:nvSpPr>
        <p:spPr>
          <a:xfrm>
            <a:off x="899592" y="1556792"/>
            <a:ext cx="238995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b="1" dirty="0" smtClean="0">
                <a:latin typeface="+mn-lt"/>
              </a:rPr>
              <a:t>Conforme LDO 2016:</a:t>
            </a:r>
            <a:endParaRPr lang="pt-BR" sz="2000" b="1" dirty="0">
              <a:latin typeface="+mn-lt"/>
            </a:endParaRPr>
          </a:p>
        </p:txBody>
      </p:sp>
      <p:pic>
        <p:nvPicPr>
          <p:cNvPr id="16" name="Imagem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tângulo 13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graphicFrame>
        <p:nvGraphicFramePr>
          <p:cNvPr id="10" name="Tabela 9"/>
          <p:cNvGraphicFramePr>
            <a:graphicFrameLocks noGrp="1"/>
          </p:cNvGraphicFramePr>
          <p:nvPr/>
        </p:nvGraphicFramePr>
        <p:xfrm>
          <a:off x="1403648" y="2214554"/>
          <a:ext cx="6480720" cy="3242520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4666118"/>
                <a:gridCol w="1814602"/>
              </a:tblGrid>
              <a:tr h="323098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600" b="1" u="none" strike="noStrike" dirty="0"/>
                        <a:t>  1 - Isenções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600" b="1" u="none" strike="noStrike" dirty="0"/>
                        <a:t>14.000.000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23098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600" u="none" strike="noStrike"/>
                        <a:t>        IPTU</a:t>
                      </a:r>
                      <a:endParaRPr lang="pt-BR" sz="1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600" u="none" strike="noStrike"/>
                        <a:t>7.000.000</a:t>
                      </a:r>
                      <a:endParaRPr lang="pt-BR" sz="1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23098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600" u="none" strike="noStrike" dirty="0"/>
                        <a:t>        ITBI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600" u="none" strike="noStrike"/>
                        <a:t>7.000.000</a:t>
                      </a:r>
                      <a:endParaRPr lang="pt-BR" sz="1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23098">
                <a:tc>
                  <a:txBody>
                    <a:bodyPr/>
                    <a:lstStyle/>
                    <a:p>
                      <a:pPr algn="l" rtl="0" fontAlgn="b"/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rtl="0" fontAlgn="b"/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23098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600" b="1" u="none" strike="noStrike" dirty="0"/>
                        <a:t>  2 - Remissões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600" b="1" u="none" strike="noStrike" dirty="0"/>
                        <a:t>4.100.000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23098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600" u="none" strike="noStrike"/>
                        <a:t> </a:t>
                      </a:r>
                      <a:endParaRPr lang="pt-BR" sz="1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600" u="none" strike="noStrike"/>
                        <a:t> </a:t>
                      </a:r>
                      <a:endParaRPr lang="pt-BR" sz="1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23098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600" b="1" u="none" strike="noStrike" dirty="0"/>
                        <a:t>  3 - Desconto Antecipado de Pagamento de IPTU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600" b="1" u="none" strike="noStrike" dirty="0"/>
                        <a:t>46.100.000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23098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600" u="none" strike="noStrike" dirty="0"/>
                        <a:t> 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600" u="none" strike="noStrike"/>
                        <a:t> </a:t>
                      </a:r>
                      <a:endParaRPr lang="pt-BR" sz="1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23098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600" b="1" u="none" strike="noStrike" dirty="0"/>
                        <a:t>  4 - Incentivo Cultural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600" b="1" u="none" strike="noStrike" dirty="0"/>
                        <a:t>10.000.000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34638">
                <a:tc>
                  <a:txBody>
                    <a:bodyPr/>
                    <a:lstStyle/>
                    <a:p>
                      <a:pPr algn="ctr" rtl="0" fontAlgn="b"/>
                      <a:r>
                        <a:rPr lang="pt-BR" sz="1600" b="1" u="none" strike="noStrike" dirty="0"/>
                        <a:t>TOTAL GERAL DA RENÚNCIA FISCAL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600" b="1" u="none" strike="noStrike" dirty="0"/>
                        <a:t>74.200.000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491607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Conector reto 10"/>
          <p:cNvCxnSpPr/>
          <p:nvPr/>
        </p:nvCxnSpPr>
        <p:spPr>
          <a:xfrm>
            <a:off x="2609850" y="2924175"/>
            <a:ext cx="6534150" cy="769"/>
          </a:xfrm>
          <a:prstGeom prst="line">
            <a:avLst/>
          </a:prstGeom>
          <a:ln w="22225">
            <a:solidFill>
              <a:srgbClr val="7CBF3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11"/>
          <p:cNvCxnSpPr/>
          <p:nvPr/>
        </p:nvCxnSpPr>
        <p:spPr>
          <a:xfrm flipV="1">
            <a:off x="2609850" y="2996953"/>
            <a:ext cx="6534150" cy="3422"/>
          </a:xfrm>
          <a:prstGeom prst="line">
            <a:avLst/>
          </a:prstGeom>
          <a:ln w="22225">
            <a:solidFill>
              <a:srgbClr val="309C4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Imagem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CaixaDeTexto 2"/>
          <p:cNvSpPr txBox="1">
            <a:spLocks noChangeArrowheads="1"/>
          </p:cNvSpPr>
          <p:nvPr/>
        </p:nvSpPr>
        <p:spPr bwMode="auto">
          <a:xfrm>
            <a:off x="944748" y="1916113"/>
            <a:ext cx="6408737" cy="2769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BR" altLang="pt-BR" sz="3600" b="1" dirty="0" smtClean="0">
                <a:solidFill>
                  <a:srgbClr val="309C42"/>
                </a:solidFill>
                <a:latin typeface="+mj-lt"/>
              </a:rPr>
              <a:t>DESPESAS /2016</a:t>
            </a:r>
            <a:endParaRPr lang="pt-BR" altLang="pt-BR" sz="3600" b="1" dirty="0">
              <a:solidFill>
                <a:srgbClr val="309C42"/>
              </a:solidFill>
              <a:latin typeface="+mj-lt"/>
            </a:endParaRPr>
          </a:p>
          <a:p>
            <a:pPr algn="ctr">
              <a:lnSpc>
                <a:spcPct val="150000"/>
              </a:lnSpc>
            </a:pPr>
            <a:endParaRPr lang="pt-BR" altLang="pt-BR" sz="3200" b="1" dirty="0">
              <a:latin typeface="Century Gothic" pitchFamily="34" charset="0"/>
            </a:endParaRPr>
          </a:p>
          <a:p>
            <a:pPr algn="ctr">
              <a:lnSpc>
                <a:spcPct val="150000"/>
              </a:lnSpc>
            </a:pPr>
            <a:endParaRPr lang="pt-BR" altLang="pt-BR" sz="3200" b="1" dirty="0">
              <a:latin typeface="Century Gothic" pitchFamily="34" charset="0"/>
            </a:endParaRPr>
          </a:p>
          <a:p>
            <a:pPr algn="ctr">
              <a:lnSpc>
                <a:spcPct val="150000"/>
              </a:lnSpc>
            </a:pPr>
            <a:endParaRPr lang="pt-BR" altLang="pt-BR" sz="1600" b="1" dirty="0">
              <a:latin typeface="Century Gothic" pitchFamily="34" charset="0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rgbClr val="7CBF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AutoShape 2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4820" name="AutoShape 4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1" name="CaixaDeTexto 1"/>
          <p:cNvSpPr txBox="1">
            <a:spLocks noChangeArrowheads="1"/>
          </p:cNvSpPr>
          <p:nvPr/>
        </p:nvSpPr>
        <p:spPr bwMode="auto">
          <a:xfrm>
            <a:off x="35496" y="191542"/>
            <a:ext cx="7833742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3200" b="1" dirty="0" smtClean="0">
                <a:solidFill>
                  <a:srgbClr val="339966"/>
                </a:solidFill>
              </a:rPr>
              <a:t>   Representação Sustentadores </a:t>
            </a:r>
          </a:p>
          <a:p>
            <a:pPr eaLnBrk="1" hangingPunct="1"/>
            <a:r>
              <a:rPr lang="pt-BR" sz="3200" b="1" dirty="0" smtClean="0">
                <a:solidFill>
                  <a:srgbClr val="339966"/>
                </a:solidFill>
              </a:rPr>
              <a:t>   por Área de Resultados</a:t>
            </a:r>
            <a:endParaRPr lang="pt-BR" sz="3200" b="1" dirty="0">
              <a:solidFill>
                <a:srgbClr val="339966"/>
              </a:solidFill>
            </a:endParaRPr>
          </a:p>
        </p:txBody>
      </p:sp>
      <p:sp>
        <p:nvSpPr>
          <p:cNvPr id="8" name="CaixaDeTexto 7"/>
          <p:cNvSpPr txBox="1"/>
          <p:nvPr/>
        </p:nvSpPr>
        <p:spPr>
          <a:xfrm>
            <a:off x="7727530" y="5910883"/>
            <a:ext cx="9813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Fonte: SOF</a:t>
            </a:r>
            <a:endParaRPr lang="pt-BR" sz="1200" i="1" dirty="0"/>
          </a:p>
        </p:txBody>
      </p:sp>
      <p:sp>
        <p:nvSpPr>
          <p:cNvPr id="9" name="CaixaDeTexto 8"/>
          <p:cNvSpPr txBox="1"/>
          <p:nvPr/>
        </p:nvSpPr>
        <p:spPr>
          <a:xfrm>
            <a:off x="7736078" y="1208041"/>
            <a:ext cx="9957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Em R$ 1,00</a:t>
            </a:r>
            <a:endParaRPr lang="pt-BR" sz="1200" i="1" dirty="0"/>
          </a:p>
        </p:txBody>
      </p:sp>
      <p:pic>
        <p:nvPicPr>
          <p:cNvPr id="13" name="Imagem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tângulo 13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rgbClr val="7CBF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graphicFrame>
        <p:nvGraphicFramePr>
          <p:cNvPr id="12" name="Tabela 11"/>
          <p:cNvGraphicFramePr>
            <a:graphicFrameLocks noGrp="1"/>
          </p:cNvGraphicFramePr>
          <p:nvPr/>
        </p:nvGraphicFramePr>
        <p:xfrm>
          <a:off x="1043607" y="1643048"/>
          <a:ext cx="7200801" cy="4143405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2160241"/>
                <a:gridCol w="1800200"/>
                <a:gridCol w="1969630"/>
                <a:gridCol w="1270730"/>
              </a:tblGrid>
              <a:tr h="44570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ÁREA DE RESULTADO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PLOA 2016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PROJETOS SUSTENTADORES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% SUST/PLO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28359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Cidade Saudável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3.965.858.955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1.764.603.409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44,49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</a:tr>
              <a:tr h="28359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Modernidade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2.816.276.736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35.349.12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1,26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</a:tr>
              <a:tr h="28359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Educação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.852.283.531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37.707.795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7,43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</a:tr>
              <a:tr h="28359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Cidade Sustentável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1.522.430.286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840.845.447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55,23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</a:tr>
              <a:tr h="28359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Cidade com Mobilidade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866.117.379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480.878.043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55,52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</a:tr>
              <a:tr h="28359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Cidade de Todos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416.098.436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89.102.166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21,41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</a:tr>
              <a:tr h="28359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Cidade com Todas Vilas Vivas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384.056.246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354.056.898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92,19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</a:tr>
              <a:tr h="28359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Cidade Segura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88.223.841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4.633.16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1,61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</a:tr>
              <a:tr h="28359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Cultura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95.759.318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6.004.607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16,71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</a:tr>
              <a:tr h="28359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Prosperidade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50.695.424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31.163.804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61,47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</a:tr>
              <a:tr h="28359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Cidade Compartilhada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6.879.272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878.47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5,20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</a:tr>
              <a:tr h="28359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Integração Metropolitana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.411.00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.411.00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100,00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/>
                </a:tc>
              </a:tr>
              <a:tr h="294508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TOTAL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12.277.090.424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3.757.633.919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30,61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385" marR="6385" marT="638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7214380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AutoShape 2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4820" name="AutoShape 4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1" name="CaixaDeTexto 1"/>
          <p:cNvSpPr txBox="1">
            <a:spLocks noChangeArrowheads="1"/>
          </p:cNvSpPr>
          <p:nvPr/>
        </p:nvSpPr>
        <p:spPr bwMode="auto">
          <a:xfrm>
            <a:off x="-108520" y="47365"/>
            <a:ext cx="806489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2800" b="1" dirty="0" smtClean="0">
                <a:solidFill>
                  <a:schemeClr val="tx2"/>
                </a:solidFill>
              </a:rPr>
              <a:t>     </a:t>
            </a:r>
            <a:r>
              <a:rPr lang="pt-BR" sz="2800" b="1" dirty="0" smtClean="0">
                <a:solidFill>
                  <a:srgbClr val="339966"/>
                </a:solidFill>
              </a:rPr>
              <a:t>Demonstrativo Despesas </a:t>
            </a:r>
            <a:r>
              <a:rPr lang="pt-BR" sz="2800" b="1" dirty="0">
                <a:solidFill>
                  <a:srgbClr val="339966"/>
                </a:solidFill>
              </a:rPr>
              <a:t>por Função de Governo</a:t>
            </a:r>
          </a:p>
        </p:txBody>
      </p:sp>
      <p:sp>
        <p:nvSpPr>
          <p:cNvPr id="8" name="CaixaDeTexto 7"/>
          <p:cNvSpPr txBox="1"/>
          <p:nvPr/>
        </p:nvSpPr>
        <p:spPr>
          <a:xfrm>
            <a:off x="8028384" y="332656"/>
            <a:ext cx="928459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pt-BR" sz="1100" i="1" dirty="0" smtClean="0"/>
              <a:t>Em R$ 1,00</a:t>
            </a:r>
            <a:endParaRPr lang="pt-BR" sz="1100" i="1" dirty="0"/>
          </a:p>
        </p:txBody>
      </p:sp>
      <p:sp>
        <p:nvSpPr>
          <p:cNvPr id="9" name="CaixaDeTexto 8"/>
          <p:cNvSpPr txBox="1"/>
          <p:nvPr/>
        </p:nvSpPr>
        <p:spPr>
          <a:xfrm>
            <a:off x="8031125" y="6211993"/>
            <a:ext cx="912429" cy="261610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r>
              <a:rPr lang="pt-BR" sz="1100" i="1" dirty="0" smtClean="0"/>
              <a:t>Fonte: SOF</a:t>
            </a:r>
            <a:endParaRPr lang="pt-BR" sz="1100" i="1" dirty="0"/>
          </a:p>
        </p:txBody>
      </p:sp>
      <p:pic>
        <p:nvPicPr>
          <p:cNvPr id="13" name="Imagem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365917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tângulo 13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rgbClr val="7CBF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graphicFrame>
        <p:nvGraphicFramePr>
          <p:cNvPr id="15" name="Tabela 14"/>
          <p:cNvGraphicFramePr>
            <a:graphicFrameLocks noGrp="1"/>
          </p:cNvGraphicFramePr>
          <p:nvPr/>
        </p:nvGraphicFramePr>
        <p:xfrm>
          <a:off x="683568" y="836712"/>
          <a:ext cx="7814672" cy="5286412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2531514"/>
                <a:gridCol w="1679523"/>
                <a:gridCol w="962056"/>
                <a:gridCol w="1679523"/>
                <a:gridCol w="962056"/>
              </a:tblGrid>
              <a:tr h="229445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FUNÇÃO GOVERNO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LOA 2015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AV % 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PLOA 2016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AV % 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229445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Legislativa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207.900.000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,77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28.175.10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,86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</a:tr>
              <a:tr h="229445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Administração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654.221.994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5,57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608.173.147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4,95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</a:tr>
              <a:tr h="229445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Segurança Pública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22.125.445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1,04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46.459.204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1,19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</a:tr>
              <a:tr h="229445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Assistência Social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90.765.855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,47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300.159.104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,44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</a:tr>
              <a:tr h="229445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Previdência Social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722.503.181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6,15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865.243.517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7,05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</a:tr>
              <a:tr h="229445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Saúde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3.657.602.209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31,12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3.964.799.905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32,29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</a:tr>
              <a:tr h="229445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Trabalho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46.017.996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,24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40.894.334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1,15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</a:tr>
              <a:tr h="229445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Educação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.970.323.039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6,77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1.879.315.312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5,31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</a:tr>
              <a:tr h="229445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Cultura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95.990.53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0,82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95.457.118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0,78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</a:tr>
              <a:tr h="229445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Direitos da Cidadania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4.183.159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0,12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15.013.244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0,12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</a:tr>
              <a:tr h="229445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Urbanismo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708.747.613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6,03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715.550.309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5,83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</a:tr>
              <a:tr h="229445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Habitação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422.089.598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3,59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449.433.582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3,66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</a:tr>
              <a:tr h="229445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Saneamento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.175.752.666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0,00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1.026.291.840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8,36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</a:tr>
              <a:tr h="229445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Gestão Ambiental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73.194.389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,47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179.569.333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,46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</a:tr>
              <a:tr h="229445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Ciência e Tecnologia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40.431.937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,19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131.243.237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,07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</a:tr>
              <a:tr h="229445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Agricultura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.594.20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0,01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1.484.100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0,01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</a:tr>
              <a:tr h="229445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Comércio e Serviços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52.800.407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0,45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62.552.092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0,51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</a:tr>
              <a:tr h="229445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Transporte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549.747.768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4,68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570.143.618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4,64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</a:tr>
              <a:tr h="229445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Desporto e Lazer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72.629.108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0,62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63.885.547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0,52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</a:tr>
              <a:tr h="229445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Encargos Especiais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502.365.042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4,27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708.307.778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5,77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</a:tr>
              <a:tr h="229445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Reserva de Contingência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71.008.102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0,60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24.939.003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1,02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/>
                </a:tc>
              </a:tr>
              <a:tr h="23862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TOTAL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11.751.994.238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100,00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12.277.090.424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100,00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56" marR="7056" marT="7056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6861915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AutoShape 2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4820" name="AutoShape 4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1" name="CaixaDeTexto 1"/>
          <p:cNvSpPr txBox="1">
            <a:spLocks noChangeArrowheads="1"/>
          </p:cNvSpPr>
          <p:nvPr/>
        </p:nvSpPr>
        <p:spPr bwMode="auto">
          <a:xfrm>
            <a:off x="35496" y="251937"/>
            <a:ext cx="783374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3200" b="1" dirty="0" smtClean="0">
                <a:solidFill>
                  <a:schemeClr val="tx2"/>
                </a:solidFill>
              </a:rPr>
              <a:t>   </a:t>
            </a:r>
            <a:r>
              <a:rPr lang="pt-BR" sz="3200" b="1" dirty="0" smtClean="0">
                <a:solidFill>
                  <a:srgbClr val="339966"/>
                </a:solidFill>
              </a:rPr>
              <a:t>Fontes </a:t>
            </a:r>
            <a:r>
              <a:rPr lang="pt-BR" sz="3200" b="1" dirty="0">
                <a:solidFill>
                  <a:srgbClr val="339966"/>
                </a:solidFill>
              </a:rPr>
              <a:t>de </a:t>
            </a:r>
            <a:r>
              <a:rPr lang="pt-BR" sz="3200" b="1" dirty="0" smtClean="0">
                <a:solidFill>
                  <a:srgbClr val="339966"/>
                </a:solidFill>
              </a:rPr>
              <a:t>Recursos/2016</a:t>
            </a:r>
            <a:endParaRPr lang="pt-BR" sz="3200" b="1" dirty="0">
              <a:solidFill>
                <a:srgbClr val="339966"/>
              </a:solidFill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7508765" y="1340768"/>
            <a:ext cx="9957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Em R$ 1,00</a:t>
            </a:r>
            <a:endParaRPr lang="pt-BR" sz="1200" i="1" dirty="0"/>
          </a:p>
        </p:txBody>
      </p:sp>
      <p:sp>
        <p:nvSpPr>
          <p:cNvPr id="10" name="CaixaDeTexto 9"/>
          <p:cNvSpPr txBox="1"/>
          <p:nvPr/>
        </p:nvSpPr>
        <p:spPr>
          <a:xfrm>
            <a:off x="7551081" y="5218167"/>
            <a:ext cx="9813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Fonte: SOF</a:t>
            </a:r>
            <a:endParaRPr lang="pt-BR" sz="1200" i="1" dirty="0"/>
          </a:p>
        </p:txBody>
      </p:sp>
      <p:pic>
        <p:nvPicPr>
          <p:cNvPr id="14" name="Imagem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tângulo 14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rgbClr val="7CBF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graphicFrame>
        <p:nvGraphicFramePr>
          <p:cNvPr id="12" name="Tabela 11"/>
          <p:cNvGraphicFramePr>
            <a:graphicFrameLocks noGrp="1"/>
          </p:cNvGraphicFramePr>
          <p:nvPr/>
        </p:nvGraphicFramePr>
        <p:xfrm>
          <a:off x="1331640" y="1714488"/>
          <a:ext cx="6809411" cy="3429029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4320480"/>
                <a:gridCol w="1512168"/>
                <a:gridCol w="976763"/>
              </a:tblGrid>
              <a:tr h="291785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500" b="1" u="none" strike="noStrike" dirty="0"/>
                        <a:t>FONTE</a:t>
                      </a:r>
                      <a:endParaRPr lang="pt-BR" sz="15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500" b="1" u="none" strike="noStrike" dirty="0"/>
                        <a:t>VALOR</a:t>
                      </a:r>
                      <a:endParaRPr lang="pt-BR" sz="15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500" b="1" u="none" strike="noStrike" dirty="0"/>
                        <a:t>%</a:t>
                      </a:r>
                      <a:endParaRPr lang="pt-BR" sz="15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285204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/>
                        <a:t> Recursos Ordinários do Tesouro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6.340.860.435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51,65%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</a:tr>
              <a:tr h="285204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/>
                        <a:t> Transferências Constitucionais Educação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608.805.000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4,96%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</a:tr>
              <a:tr h="285204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/>
                        <a:t> Receita Própria de Entidades e Órgãos Autônomos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328.672.985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2,68%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</a:tr>
              <a:tr h="285204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/>
                        <a:t> Receita das Entidades Empresariais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26.250.453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0,21%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</a:tr>
              <a:tr h="285204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/>
                        <a:t> Captação de Recursos Vinculados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592.093.339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4,82%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</a:tr>
              <a:tr h="285204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 dirty="0"/>
                        <a:t> Captação de Recursos Vinculados – Assistência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48.132.900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0,39%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</a:tr>
              <a:tr h="285204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 dirty="0"/>
                        <a:t> Captação de Recursos </a:t>
                      </a:r>
                      <a:r>
                        <a:rPr lang="pt-BR" sz="1400" u="none" strike="noStrike" dirty="0" smtClean="0"/>
                        <a:t>Vinculados – </a:t>
                      </a:r>
                      <a:r>
                        <a:rPr lang="pt-BR" sz="1400" u="none" strike="noStrike" dirty="0"/>
                        <a:t>Saúde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2.459.219.684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20,03%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</a:tr>
              <a:tr h="285204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/>
                        <a:t> Captação de Recursos Vinculados – Educação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131.763.697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1,07%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</a:tr>
              <a:tr h="285204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/>
                        <a:t> Contribuições / Receitas Previdenciárias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681.196.409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5,55%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</a:tr>
              <a:tr h="285204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/>
                        <a:t> Financiamentos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1.060.095.522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8,63%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/>
                </a:tc>
              </a:tr>
              <a:tr h="28520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u="none" strike="noStrike" dirty="0"/>
                        <a:t>TOTAL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b="1" u="none" strike="noStrike" dirty="0"/>
                        <a:t>12.277.090.424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b="1" u="none" strike="noStrike" dirty="0"/>
                        <a:t>100,00%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144" marR="9144" marT="9144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253849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AutoShape 2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4820" name="AutoShape 4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1" name="CaixaDeTexto 1"/>
          <p:cNvSpPr txBox="1">
            <a:spLocks noChangeArrowheads="1"/>
          </p:cNvSpPr>
          <p:nvPr/>
        </p:nvSpPr>
        <p:spPr bwMode="auto">
          <a:xfrm>
            <a:off x="0" y="116632"/>
            <a:ext cx="8856984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3200" b="1" dirty="0" smtClean="0">
                <a:solidFill>
                  <a:schemeClr val="tx2"/>
                </a:solidFill>
              </a:rPr>
              <a:t>   </a:t>
            </a:r>
            <a:r>
              <a:rPr lang="pt-BR" sz="3200" b="1" dirty="0" smtClean="0">
                <a:solidFill>
                  <a:srgbClr val="339966"/>
                </a:solidFill>
              </a:rPr>
              <a:t>Grupos de Despesas por Fonte </a:t>
            </a:r>
            <a:r>
              <a:rPr lang="pt-BR" sz="3200" b="1" dirty="0">
                <a:solidFill>
                  <a:srgbClr val="339966"/>
                </a:solidFill>
              </a:rPr>
              <a:t>de </a:t>
            </a:r>
            <a:r>
              <a:rPr lang="pt-BR" sz="3200" b="1" dirty="0" smtClean="0">
                <a:solidFill>
                  <a:srgbClr val="339966"/>
                </a:solidFill>
              </a:rPr>
              <a:t>Recursos/2016</a:t>
            </a:r>
            <a:endParaRPr lang="pt-BR" sz="3200" b="1" dirty="0">
              <a:solidFill>
                <a:srgbClr val="339966"/>
              </a:solidFill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7890537" y="548680"/>
            <a:ext cx="85792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000" i="1" dirty="0" smtClean="0"/>
              <a:t>Em R$ 1,00</a:t>
            </a:r>
            <a:endParaRPr lang="pt-BR" sz="1000" i="1" dirty="0"/>
          </a:p>
        </p:txBody>
      </p:sp>
      <p:sp>
        <p:nvSpPr>
          <p:cNvPr id="10" name="CaixaDeTexto 9"/>
          <p:cNvSpPr txBox="1"/>
          <p:nvPr/>
        </p:nvSpPr>
        <p:spPr>
          <a:xfrm>
            <a:off x="7956376" y="6596390"/>
            <a:ext cx="91242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100" i="1" dirty="0" smtClean="0"/>
              <a:t>Fonte: SOF</a:t>
            </a:r>
            <a:endParaRPr lang="pt-BR" sz="1100" i="1" dirty="0"/>
          </a:p>
        </p:txBody>
      </p:sp>
      <p:sp>
        <p:nvSpPr>
          <p:cNvPr id="15" name="Retângulo 14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rgbClr val="7CBF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graphicFrame>
        <p:nvGraphicFramePr>
          <p:cNvPr id="16" name="Tabela 15"/>
          <p:cNvGraphicFramePr>
            <a:graphicFrameLocks noGrp="1"/>
          </p:cNvGraphicFramePr>
          <p:nvPr/>
        </p:nvGraphicFramePr>
        <p:xfrm>
          <a:off x="500034" y="836712"/>
          <a:ext cx="8358247" cy="5715043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2199758"/>
                <a:gridCol w="1080120"/>
                <a:gridCol w="1080120"/>
                <a:gridCol w="1080120"/>
                <a:gridCol w="864096"/>
                <a:gridCol w="936104"/>
                <a:gridCol w="1117929"/>
              </a:tblGrid>
              <a:tr h="436175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FONTE DE RECURSOS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 CUSTEIO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 </a:t>
                      </a:r>
                      <a:r>
                        <a:rPr lang="pt-BR" sz="1100" b="1" u="none" strike="noStrike" dirty="0" smtClean="0"/>
                        <a:t>INVESTIMENTO /INVERSÃO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 PESSOAL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 SERVIÇO DA DÍVIDA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 RESERVA DE CONTINGÊNCIA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 TOTAL GERAL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358427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/>
                        <a:t>Recursos Ordinários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2.339.332.952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425.230.275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/>
                        <a:t>3.004.254.319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/>
                        <a:t>436.081.300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/>
                        <a:t>9.373.589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/>
                        <a:t>6.214.272.435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</a:tr>
              <a:tr h="369357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/>
                        <a:t>Contribuição p/ Custeio dos Serviços de Iluminação Pública (COSIP)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80.358.00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46.030.00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/>
                        <a:t>126.388.000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</a:tr>
              <a:tr h="342136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/>
                        <a:t>Transferências do FUNDEB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608.805.00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/>
                        <a:t>608.805.000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</a:tr>
              <a:tr h="342136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/>
                        <a:t>Aplicação </a:t>
                      </a:r>
                      <a:r>
                        <a:rPr lang="pt-BR" sz="1100" u="none" strike="noStrike" dirty="0" err="1"/>
                        <a:t>Cota-parte</a:t>
                      </a:r>
                      <a:r>
                        <a:rPr lang="pt-BR" sz="1100" u="none" strike="noStrike" dirty="0"/>
                        <a:t> CFEM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200.00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/>
                        <a:t>200000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</a:tr>
              <a:tr h="342136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/>
                        <a:t>Transferências de Convênios Vinculados à Educação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747.97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/>
                        <a:t>747.970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</a:tr>
              <a:tr h="342136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/>
                        <a:t>Transferências de Convênios Vinculados à Saúde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17.046.467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26.407.138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26718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/>
                        <a:t>43.480.323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</a:tr>
              <a:tr h="376162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 err="1"/>
                        <a:t>Transf</a:t>
                      </a:r>
                      <a:r>
                        <a:rPr lang="pt-BR" sz="1100" u="none" strike="noStrike" dirty="0"/>
                        <a:t>.de Recursos do FNAS e Convênios </a:t>
                      </a:r>
                      <a:r>
                        <a:rPr lang="pt-BR" sz="1100" u="none" strike="noStrike" dirty="0" err="1"/>
                        <a:t>Vinc</a:t>
                      </a:r>
                      <a:r>
                        <a:rPr lang="pt-BR" sz="1100" u="none" strike="noStrike" dirty="0"/>
                        <a:t>. à Assistência Social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2.00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1.001.00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/>
                        <a:t>1.003.000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</a:tr>
              <a:tr h="342136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/>
                        <a:t>Transferências de Recursos do FNDE/PNAE/QESE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95.575.584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35.440.143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/>
                        <a:t>131.015.727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</a:tr>
              <a:tr h="342136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/>
                        <a:t>Transferências de Recursos do SUS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2.257.029.151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65.954.56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92.755.65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/>
                        <a:t>2.415.739.361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</a:tr>
              <a:tr h="362552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 err="1"/>
                        <a:t>Transf</a:t>
                      </a:r>
                      <a:r>
                        <a:rPr lang="pt-BR" sz="1100" u="none" strike="noStrike" dirty="0"/>
                        <a:t>. de Recursos do Fundo Estadual de Assistência Social (FEAS)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24.881.70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22820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1352000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/>
                        <a:t>38.629.900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</a:tr>
              <a:tr h="342136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/>
                        <a:t>Outras Transferências Vinculadas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69.355.956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525.316.213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5.921.17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/>
                        <a:t>600.593.339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</a:tr>
              <a:tr h="342136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/>
                        <a:t>Receita Própria de Entidades e Órgãos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178.236.916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7.037.805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169.648.717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/>
                        <a:t>354.923.438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</a:tr>
              <a:tr h="342136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/>
                        <a:t>Receitas da Gestão Previdenciária Municipal 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6.159.51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2.021.979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557.449.506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115.565.414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/>
                        <a:t>681.196.409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</a:tr>
              <a:tr h="358427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100" u="none" strike="noStrike" dirty="0"/>
                        <a:t>Operações de Crédito Internas/Externas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8.167.80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1.051.927.722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/>
                        <a:t>1.060.095.522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b"/>
                </a:tc>
              </a:tr>
              <a:tr h="37471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TOTAL GERAL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5.076.146.036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2.187.543.005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4.452.381.080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436.081.300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124.939.003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12.277.090.424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272" marR="6272" marT="6272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253849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AutoShape 2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4820" name="AutoShape 4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1" name="CaixaDeTexto 1"/>
          <p:cNvSpPr txBox="1">
            <a:spLocks noChangeArrowheads="1"/>
          </p:cNvSpPr>
          <p:nvPr/>
        </p:nvSpPr>
        <p:spPr bwMode="auto">
          <a:xfrm>
            <a:off x="35496" y="214120"/>
            <a:ext cx="7833742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3200" b="1" dirty="0" smtClean="0">
                <a:solidFill>
                  <a:schemeClr val="tx2"/>
                </a:solidFill>
              </a:rPr>
              <a:t>   </a:t>
            </a:r>
            <a:r>
              <a:rPr lang="pt-BR" sz="3200" b="1" dirty="0" smtClean="0">
                <a:solidFill>
                  <a:srgbClr val="339966"/>
                </a:solidFill>
              </a:rPr>
              <a:t>Despesa </a:t>
            </a:r>
            <a:r>
              <a:rPr lang="pt-BR" sz="3200" b="1" dirty="0">
                <a:solidFill>
                  <a:srgbClr val="339966"/>
                </a:solidFill>
              </a:rPr>
              <a:t>por Categoria </a:t>
            </a:r>
            <a:r>
              <a:rPr lang="pt-BR" sz="3200" b="1" dirty="0" smtClean="0">
                <a:solidFill>
                  <a:srgbClr val="339966"/>
                </a:solidFill>
              </a:rPr>
              <a:t>Econômica e </a:t>
            </a:r>
          </a:p>
          <a:p>
            <a:pPr eaLnBrk="1" hangingPunct="1"/>
            <a:r>
              <a:rPr lang="pt-BR" sz="3200" b="1" dirty="0" smtClean="0">
                <a:solidFill>
                  <a:srgbClr val="339966"/>
                </a:solidFill>
              </a:rPr>
              <a:t>   Grupo </a:t>
            </a:r>
            <a:r>
              <a:rPr lang="pt-BR" sz="3200" b="1" dirty="0">
                <a:solidFill>
                  <a:srgbClr val="339966"/>
                </a:solidFill>
              </a:rPr>
              <a:t>de Despesa</a:t>
            </a:r>
          </a:p>
        </p:txBody>
      </p:sp>
      <p:sp>
        <p:nvSpPr>
          <p:cNvPr id="9" name="CaixaDeTexto 8"/>
          <p:cNvSpPr txBox="1"/>
          <p:nvPr/>
        </p:nvSpPr>
        <p:spPr>
          <a:xfrm>
            <a:off x="7747367" y="1280049"/>
            <a:ext cx="9957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Em R$ 1,00</a:t>
            </a:r>
            <a:endParaRPr lang="pt-BR" sz="1200" i="1" dirty="0"/>
          </a:p>
        </p:txBody>
      </p:sp>
      <p:sp>
        <p:nvSpPr>
          <p:cNvPr id="8" name="CaixaDeTexto 7"/>
          <p:cNvSpPr txBox="1"/>
          <p:nvPr/>
        </p:nvSpPr>
        <p:spPr>
          <a:xfrm>
            <a:off x="7740352" y="5767123"/>
            <a:ext cx="9813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Fonte: SOF</a:t>
            </a:r>
            <a:endParaRPr lang="pt-BR" sz="1200" i="1" dirty="0"/>
          </a:p>
        </p:txBody>
      </p:sp>
      <p:pic>
        <p:nvPicPr>
          <p:cNvPr id="13" name="Imagem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tângulo 13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rgbClr val="7CBF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graphicFrame>
        <p:nvGraphicFramePr>
          <p:cNvPr id="12" name="Tabela 11"/>
          <p:cNvGraphicFramePr>
            <a:graphicFrameLocks noGrp="1"/>
          </p:cNvGraphicFramePr>
          <p:nvPr/>
        </p:nvGraphicFramePr>
        <p:xfrm>
          <a:off x="899593" y="1571608"/>
          <a:ext cx="7704856" cy="4143407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2502432"/>
                <a:gridCol w="1674031"/>
                <a:gridCol w="1008112"/>
                <a:gridCol w="1532478"/>
                <a:gridCol w="987803"/>
              </a:tblGrid>
              <a:tr h="37536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300" b="1" u="none" strike="noStrike" dirty="0"/>
                        <a:t>ESPECIFICAÇÃO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300" b="1" u="none" strike="noStrike" dirty="0"/>
                        <a:t>VALOR FIXADO 2015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300" b="1" u="none" strike="noStrike" dirty="0"/>
                        <a:t>AV%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300" b="1" u="none" strike="noStrike" dirty="0"/>
                        <a:t>PLOA 2016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300" b="1" u="none" strike="noStrike" dirty="0"/>
                        <a:t>AV%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375361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300" b="1" u="none" strike="noStrike" dirty="0"/>
                        <a:t> Despesas Correntes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b="1" u="none" strike="noStrike" dirty="0"/>
                        <a:t>8.891.737.572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b="1" u="none" strike="noStrike" dirty="0"/>
                        <a:t>75,66%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b="1" u="none" strike="noStrike" dirty="0"/>
                        <a:t>9.742.238.416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b="1" u="none" strike="noStrike" dirty="0"/>
                        <a:t>79,35%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375361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300" u="none" strike="noStrike"/>
                        <a:t> Pessoal e Encargos Sociais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/>
                        <a:t>4.103.104.711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/>
                        <a:t>34,91%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/>
                        <a:t>4.452.381.080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/>
                        <a:t>36,27%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</a:tr>
              <a:tr h="375361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300" u="none" strike="noStrike"/>
                        <a:t> Juros e Encargos da Dívida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/>
                        <a:t>177.000.000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/>
                        <a:t>1,51%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/>
                        <a:t>213.711.300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/>
                        <a:t>1,74%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</a:tr>
              <a:tr h="375361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300" u="none" strike="noStrike"/>
                        <a:t> Outras Despesas Correntes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/>
                        <a:t>4.611.632.861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/>
                        <a:t>39,24%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/>
                        <a:t>5.076.146.036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/>
                        <a:t>41,35%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</a:tr>
              <a:tr h="375361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300" b="1" u="none" strike="noStrike" dirty="0"/>
                        <a:t> Despesas de Capital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b="1" u="none" strike="noStrike" dirty="0"/>
                        <a:t>2.789.248.564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b="1" u="none" strike="noStrike" dirty="0"/>
                        <a:t>23,73%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b="1" u="none" strike="noStrike" dirty="0"/>
                        <a:t>2.409.913.005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b="1" u="none" strike="noStrike" dirty="0"/>
                        <a:t>19,63%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375361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300" u="none" strike="noStrike"/>
                        <a:t> Investimentos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/>
                        <a:t>2.625.413.564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/>
                        <a:t>22,34%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/>
                        <a:t>2.119.226.009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/>
                        <a:t>17,26%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</a:tr>
              <a:tr h="375361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300" u="none" strike="noStrike"/>
                        <a:t> Inversões Financeiras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/>
                        <a:t>5.835.000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/>
                        <a:t>0,05%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/>
                        <a:t>68.316.996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/>
                        <a:t>0,56%</a:t>
                      </a:r>
                      <a:endParaRPr lang="pt-BR" sz="13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</a:tr>
              <a:tr h="375361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300" u="none" strike="noStrike" dirty="0"/>
                        <a:t> Amortização da Dívida</a:t>
                      </a:r>
                      <a:endParaRPr lang="pt-BR" sz="13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 dirty="0"/>
                        <a:t>158.000.000</a:t>
                      </a:r>
                      <a:endParaRPr lang="pt-BR" sz="13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 dirty="0"/>
                        <a:t>1,34%</a:t>
                      </a:r>
                      <a:endParaRPr lang="pt-BR" sz="13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 dirty="0"/>
                        <a:t>222.370.000</a:t>
                      </a:r>
                      <a:endParaRPr lang="pt-BR" sz="13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u="none" strike="noStrike" dirty="0"/>
                        <a:t>1,81%</a:t>
                      </a:r>
                      <a:endParaRPr lang="pt-BR" sz="13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/>
                </a:tc>
              </a:tr>
              <a:tr h="375361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300" b="1" u="none" strike="noStrike" dirty="0"/>
                        <a:t> Reserva de Contingência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b="1" u="none" strike="noStrike" dirty="0"/>
                        <a:t>71.008.102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b="1" u="none" strike="noStrike" dirty="0"/>
                        <a:t>0,60%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b="1" u="none" strike="noStrike" dirty="0"/>
                        <a:t>124.939.003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b="1" u="none" strike="noStrike" dirty="0"/>
                        <a:t>1,02%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389797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300" b="1" u="none" strike="noStrike" dirty="0"/>
                        <a:t>TOTAL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b="1" u="none" strike="noStrike" dirty="0"/>
                        <a:t>11.751.994.238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b="1" u="none" strike="noStrike" dirty="0"/>
                        <a:t>100,00%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b="1" u="none" strike="noStrike" dirty="0"/>
                        <a:t>12.277.090.424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300" b="1" u="none" strike="noStrike" dirty="0"/>
                        <a:t>100,00%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435" marR="8435" marT="843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3533826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AutoShape 2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4820" name="AutoShape 4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1" name="CaixaDeTexto 1"/>
          <p:cNvSpPr txBox="1">
            <a:spLocks noChangeArrowheads="1"/>
          </p:cNvSpPr>
          <p:nvPr/>
        </p:nvSpPr>
        <p:spPr bwMode="auto">
          <a:xfrm>
            <a:off x="35496" y="395953"/>
            <a:ext cx="783374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3200" b="1" dirty="0" smtClean="0">
                <a:solidFill>
                  <a:schemeClr val="tx2"/>
                </a:solidFill>
              </a:rPr>
              <a:t>   </a:t>
            </a:r>
            <a:r>
              <a:rPr lang="pt-BR" sz="3200" b="1" dirty="0" smtClean="0">
                <a:solidFill>
                  <a:srgbClr val="339966"/>
                </a:solidFill>
              </a:rPr>
              <a:t>Obras 2016</a:t>
            </a:r>
            <a:endParaRPr lang="pt-BR" sz="3200" b="1" dirty="0">
              <a:solidFill>
                <a:srgbClr val="339966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7672123" y="1416794"/>
            <a:ext cx="9957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Em R$ 1,00</a:t>
            </a:r>
            <a:endParaRPr lang="pt-BR" sz="1200" i="1" dirty="0"/>
          </a:p>
        </p:txBody>
      </p:sp>
      <p:sp>
        <p:nvSpPr>
          <p:cNvPr id="8" name="CaixaDeTexto 7"/>
          <p:cNvSpPr txBox="1"/>
          <p:nvPr/>
        </p:nvSpPr>
        <p:spPr>
          <a:xfrm>
            <a:off x="7697838" y="5035498"/>
            <a:ext cx="9813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Fonte: SOF</a:t>
            </a:r>
            <a:endParaRPr lang="pt-BR" sz="1200" i="1" dirty="0"/>
          </a:p>
        </p:txBody>
      </p:sp>
      <p:pic>
        <p:nvPicPr>
          <p:cNvPr id="13" name="Imagem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tângulo 13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rgbClr val="7CBF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graphicFrame>
        <p:nvGraphicFramePr>
          <p:cNvPr id="15" name="Tabela 14"/>
          <p:cNvGraphicFramePr>
            <a:graphicFrameLocks noGrp="1"/>
          </p:cNvGraphicFramePr>
          <p:nvPr/>
        </p:nvGraphicFramePr>
        <p:xfrm>
          <a:off x="899592" y="1772816"/>
          <a:ext cx="7496430" cy="3071838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2936745"/>
                <a:gridCol w="1808417"/>
                <a:gridCol w="1282894"/>
                <a:gridCol w="1468374"/>
              </a:tblGrid>
              <a:tr h="297618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u="none" strike="noStrike" dirty="0"/>
                        <a:t>FUNÇÃO DE GOVERNO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u="none" strike="noStrike" dirty="0"/>
                        <a:t> OUTRAS OBRAS 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u="none" strike="noStrike" dirty="0"/>
                        <a:t>OP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u="none" strike="noStrike" dirty="0"/>
                        <a:t>TOTAL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27635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 dirty="0"/>
                        <a:t> Saneamento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/>
                        <a:t>555.911.08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/>
                        <a:t>16.001.372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571.912.460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</a:tr>
              <a:tr h="27635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 dirty="0"/>
                        <a:t> Urbanismo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369.880.247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/>
                        <a:t>44.178.33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/>
                        <a:t>414.058.58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</a:tr>
              <a:tr h="27635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/>
                        <a:t> Habitação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221.628.099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47.822.119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/>
                        <a:t>269.450.21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</a:tr>
              <a:tr h="27635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/>
                        <a:t> Ensino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38.174.463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9.162.686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/>
                        <a:t>47.337.149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</a:tr>
              <a:tr h="27635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/>
                        <a:t> Saúde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58.381.700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39.267.900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/>
                        <a:t>97.649.600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</a:tr>
              <a:tr h="27635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/>
                        <a:t> Gestão Ambient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54.283.366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11.454.875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/>
                        <a:t>65.738.241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</a:tr>
              <a:tr h="27635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/>
                        <a:t> Transporte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76.318.847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0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/>
                        <a:t>76.318.847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</a:tr>
              <a:tr h="27635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/>
                        <a:t> Outras Obras da Área Soci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38.396.617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20.024.404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/>
                        <a:t>58.421.021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</a:tr>
              <a:tr h="276359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/>
                        <a:t> Outras Obras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22.945.173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217.658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/>
                        <a:t>23.162.831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/>
                </a:tc>
              </a:tr>
              <a:tr h="28698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u="none" strike="noStrike" dirty="0"/>
                        <a:t>TOTAL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b="1" u="none" strike="noStrike" dirty="0"/>
                        <a:t>1.435.919.600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b="1" u="none" strike="noStrike" dirty="0"/>
                        <a:t>188.129.350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b="1" u="none" strike="noStrike" dirty="0"/>
                        <a:t>1.624.048.950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27" marR="9427" marT="9427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940542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AutoShape 2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4820" name="AutoShape 4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1" name="CaixaDeTexto 1"/>
          <p:cNvSpPr txBox="1">
            <a:spLocks noChangeArrowheads="1"/>
          </p:cNvSpPr>
          <p:nvPr/>
        </p:nvSpPr>
        <p:spPr bwMode="auto">
          <a:xfrm>
            <a:off x="539552" y="395953"/>
            <a:ext cx="8064896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3200" b="1" dirty="0" smtClean="0">
                <a:solidFill>
                  <a:srgbClr val="339966"/>
                </a:solidFill>
              </a:rPr>
              <a:t>Despesa Fixada para 2016 por Área de    Abrangência</a:t>
            </a:r>
            <a:endParaRPr lang="pt-BR" sz="3200" b="1" dirty="0">
              <a:solidFill>
                <a:srgbClr val="339966"/>
              </a:solidFill>
            </a:endParaRPr>
          </a:p>
        </p:txBody>
      </p:sp>
      <p:sp>
        <p:nvSpPr>
          <p:cNvPr id="12" name="CaixaDeTexto 11"/>
          <p:cNvSpPr txBox="1"/>
          <p:nvPr/>
        </p:nvSpPr>
        <p:spPr>
          <a:xfrm>
            <a:off x="7812360" y="5589240"/>
            <a:ext cx="9813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Fonte: SOF</a:t>
            </a:r>
            <a:endParaRPr lang="pt-BR" sz="1200" i="1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7812360" y="1340768"/>
            <a:ext cx="9957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Em R$ 1,00</a:t>
            </a:r>
            <a:endParaRPr lang="pt-BR" sz="1200" i="1" dirty="0"/>
          </a:p>
        </p:txBody>
      </p:sp>
      <p:pic>
        <p:nvPicPr>
          <p:cNvPr id="10" name="Imagem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tângulo 14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rgbClr val="7CBF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graphicFrame>
        <p:nvGraphicFramePr>
          <p:cNvPr id="13" name="Tabela 12"/>
          <p:cNvGraphicFramePr>
            <a:graphicFrameLocks noGrp="1"/>
          </p:cNvGraphicFramePr>
          <p:nvPr/>
        </p:nvGraphicFramePr>
        <p:xfrm>
          <a:off x="642910" y="1714487"/>
          <a:ext cx="8072494" cy="3714777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1354608"/>
                <a:gridCol w="1206330"/>
                <a:gridCol w="1152128"/>
                <a:gridCol w="1224136"/>
                <a:gridCol w="936104"/>
                <a:gridCol w="1082412"/>
                <a:gridCol w="1116776"/>
              </a:tblGrid>
              <a:tr h="573268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ABRANGÊNCI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PESSOAL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CUSTEIO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INVESTIMENTO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DÍVID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RESERVA CONTIGÊNCI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TOTAL GERAL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286634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/>
                        <a:t> Barreiro</a:t>
                      </a:r>
                      <a:endParaRPr lang="pt-BR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92.956.398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26.163.273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40.590.644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 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 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459.710.315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</a:tr>
              <a:tr h="286634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/>
                        <a:t> Centro-Sul</a:t>
                      </a:r>
                      <a:endParaRPr lang="pt-BR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99.923.40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62.342.607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97.464.82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 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 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459.730.827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</a:tr>
              <a:tr h="286634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/>
                        <a:t> Leste</a:t>
                      </a:r>
                      <a:endParaRPr lang="pt-BR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92.066.00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93.010.353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60.537.214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 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 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345.613.567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</a:tr>
              <a:tr h="286634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/>
                        <a:t> Nordeste</a:t>
                      </a:r>
                      <a:endParaRPr lang="pt-BR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71.876.50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17.180.808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76.326.858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 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 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465.384.166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</a:tr>
              <a:tr h="286634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/>
                        <a:t> Noroeste</a:t>
                      </a:r>
                      <a:endParaRPr lang="pt-BR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33.123.05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96.803.912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63.103.133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 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 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393.030.095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</a:tr>
              <a:tr h="286634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/>
                        <a:t> Norte</a:t>
                      </a:r>
                      <a:endParaRPr lang="pt-BR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14.085.85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92.950.646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15.583.439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 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 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422.619.935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</a:tr>
              <a:tr h="286634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/>
                        <a:t> Oeste</a:t>
                      </a:r>
                      <a:endParaRPr lang="pt-BR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09.785.60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92.625.308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48.227.075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 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 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350.637.983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</a:tr>
              <a:tr h="286634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/>
                        <a:t> Pampulha</a:t>
                      </a:r>
                      <a:endParaRPr lang="pt-BR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82.537.75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92.931.153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80.404.256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 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 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355.873.159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</a:tr>
              <a:tr h="286634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/>
                        <a:t> Venda Nova</a:t>
                      </a:r>
                      <a:endParaRPr lang="pt-BR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70.256.95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11.146.874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8.826.335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 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 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410.230.159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</a:tr>
              <a:tr h="286634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Municipal</a:t>
                      </a:r>
                      <a:endParaRPr lang="pt-BR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.385.769.582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4.090.991.102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.576.479.231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436.081.30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24.939.003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8.614.260.218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/>
                </a:tc>
              </a:tr>
              <a:tr h="27516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TOTAL GERAL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4.452.381.080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5.076.146.036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2.187.543.005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436.081.300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124.939.003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12.277.090.424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815" marR="7815" marT="781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1020366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AutoShape 2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4820" name="AutoShape 4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1" name="CaixaDeTexto 1"/>
          <p:cNvSpPr txBox="1">
            <a:spLocks noChangeArrowheads="1"/>
          </p:cNvSpPr>
          <p:nvPr/>
        </p:nvSpPr>
        <p:spPr bwMode="auto">
          <a:xfrm>
            <a:off x="35496" y="323945"/>
            <a:ext cx="783374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3200" b="1" dirty="0" smtClean="0">
                <a:solidFill>
                  <a:schemeClr val="tx2"/>
                </a:solidFill>
              </a:rPr>
              <a:t>   </a:t>
            </a:r>
            <a:r>
              <a:rPr lang="pt-BR" sz="3200" b="1" dirty="0" smtClean="0">
                <a:solidFill>
                  <a:srgbClr val="339966"/>
                </a:solidFill>
              </a:rPr>
              <a:t>Aplicação </a:t>
            </a:r>
            <a:r>
              <a:rPr lang="pt-BR" sz="3200" b="1" dirty="0">
                <a:solidFill>
                  <a:srgbClr val="339966"/>
                </a:solidFill>
              </a:rPr>
              <a:t>de Recursos com </a:t>
            </a:r>
            <a:r>
              <a:rPr lang="pt-BR" sz="3200" b="1" dirty="0" smtClean="0">
                <a:solidFill>
                  <a:srgbClr val="339966"/>
                </a:solidFill>
              </a:rPr>
              <a:t>Pessoal</a:t>
            </a:r>
            <a:endParaRPr lang="pt-BR" sz="3200" b="1" dirty="0">
              <a:solidFill>
                <a:srgbClr val="339966"/>
              </a:solidFill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7244349" y="1167159"/>
            <a:ext cx="9957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Em R$ 1,00</a:t>
            </a:r>
            <a:endParaRPr lang="pt-BR" sz="1200" i="1" dirty="0"/>
          </a:p>
        </p:txBody>
      </p:sp>
      <p:sp>
        <p:nvSpPr>
          <p:cNvPr id="10" name="CaixaDeTexto 9"/>
          <p:cNvSpPr txBox="1"/>
          <p:nvPr/>
        </p:nvSpPr>
        <p:spPr>
          <a:xfrm>
            <a:off x="1259632" y="4941168"/>
            <a:ext cx="8160841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pt-BR" sz="1300" i="1" dirty="0"/>
          </a:p>
          <a:p>
            <a:pPr algn="just"/>
            <a:r>
              <a:rPr lang="pt-BR" sz="1300" i="1" dirty="0" smtClean="0"/>
              <a:t>A </a:t>
            </a:r>
            <a:r>
              <a:rPr lang="pt-BR" sz="1300" i="1" dirty="0"/>
              <a:t>RCL inclui as </a:t>
            </a:r>
            <a:r>
              <a:rPr lang="pt-BR" sz="1300" i="1" dirty="0" smtClean="0"/>
              <a:t>receitas correntes </a:t>
            </a:r>
            <a:r>
              <a:rPr lang="pt-BR" sz="1300" i="1" dirty="0"/>
              <a:t>vinculadas, tais como SUS, merenda, </a:t>
            </a:r>
            <a:r>
              <a:rPr lang="pt-BR" sz="1300" i="1" dirty="0" smtClean="0"/>
              <a:t>FNAS.</a:t>
            </a:r>
            <a:endParaRPr lang="pt-BR" sz="1300" i="1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7524328" y="5373216"/>
            <a:ext cx="9813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Fonte: SOF</a:t>
            </a:r>
            <a:endParaRPr lang="pt-BR" sz="1200" i="1" dirty="0"/>
          </a:p>
        </p:txBody>
      </p:sp>
      <p:pic>
        <p:nvPicPr>
          <p:cNvPr id="15" name="Imagem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tângulo 15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rgbClr val="7CBF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graphicFrame>
        <p:nvGraphicFramePr>
          <p:cNvPr id="13" name="Tabela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5234218"/>
              </p:ext>
            </p:extLst>
          </p:nvPr>
        </p:nvGraphicFramePr>
        <p:xfrm>
          <a:off x="1403648" y="1556792"/>
          <a:ext cx="6480720" cy="3296979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3705601"/>
                <a:gridCol w="2775119"/>
              </a:tblGrid>
              <a:tr h="389517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1" u="none" strike="noStrike" dirty="0"/>
                        <a:t>SETOR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1" u="none" strike="noStrike" dirty="0"/>
                        <a:t>VALORES FIXADOS 2016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361694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 dirty="0"/>
                        <a:t> Administração Direta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/>
                        <a:t>3.022.211.532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361694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 dirty="0"/>
                        <a:t> Administração Indireta/Empresas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/>
                        <a:t>590.977.427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361694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/>
                        <a:t> Câmara Municip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/>
                        <a:t>150.550.000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723387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/>
                        <a:t> Outras Despesas de Pessoal – contrato de terceirização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/>
                        <a:t>207.798.975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36169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u="none" strike="noStrike" dirty="0"/>
                        <a:t> TOTAL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b="1" u="none" strike="noStrike" dirty="0"/>
                        <a:t>3.971.537.934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361694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/>
                        <a:t> Receita Corrente Líquida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/>
                        <a:t>9.576.981.18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375605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u="none" strike="noStrike" dirty="0"/>
                        <a:t> % da Receita Corrente Líquida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b="1" u="none" strike="noStrike" dirty="0"/>
                        <a:t>41,47%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4709437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CaixaDeTexto 2"/>
          <p:cNvSpPr txBox="1">
            <a:spLocks noChangeArrowheads="1"/>
          </p:cNvSpPr>
          <p:nvPr/>
        </p:nvSpPr>
        <p:spPr bwMode="auto">
          <a:xfrm>
            <a:off x="888303" y="1916113"/>
            <a:ext cx="6408737" cy="27699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BR" altLang="pt-BR" sz="3600" b="1" dirty="0">
                <a:solidFill>
                  <a:srgbClr val="1F497D"/>
                </a:solidFill>
                <a:latin typeface="+mj-lt"/>
              </a:rPr>
              <a:t>RECEITAS </a:t>
            </a:r>
            <a:r>
              <a:rPr lang="pt-BR" altLang="pt-BR" sz="3600" b="1" dirty="0" smtClean="0">
                <a:solidFill>
                  <a:srgbClr val="1F497D"/>
                </a:solidFill>
                <a:latin typeface="+mj-lt"/>
              </a:rPr>
              <a:t>/2016</a:t>
            </a:r>
            <a:endParaRPr lang="pt-BR" altLang="pt-BR" sz="3600" b="1" dirty="0">
              <a:solidFill>
                <a:srgbClr val="1F497D"/>
              </a:solidFill>
              <a:latin typeface="+mj-lt"/>
            </a:endParaRPr>
          </a:p>
          <a:p>
            <a:pPr algn="ctr">
              <a:lnSpc>
                <a:spcPct val="150000"/>
              </a:lnSpc>
            </a:pPr>
            <a:endParaRPr lang="pt-BR" altLang="pt-BR" sz="3200" b="1" dirty="0">
              <a:latin typeface="Century Gothic" pitchFamily="34" charset="0"/>
            </a:endParaRPr>
          </a:p>
          <a:p>
            <a:pPr algn="ctr">
              <a:lnSpc>
                <a:spcPct val="150000"/>
              </a:lnSpc>
            </a:pPr>
            <a:endParaRPr lang="pt-BR" altLang="pt-BR" sz="3200" b="1" dirty="0">
              <a:latin typeface="Century Gothic" pitchFamily="34" charset="0"/>
            </a:endParaRPr>
          </a:p>
          <a:p>
            <a:pPr algn="ctr">
              <a:lnSpc>
                <a:spcPct val="150000"/>
              </a:lnSpc>
            </a:pPr>
            <a:endParaRPr lang="pt-BR" altLang="pt-BR" sz="1600" b="1" dirty="0">
              <a:latin typeface="Century Gothic" pitchFamily="34" charset="0"/>
            </a:endParaRPr>
          </a:p>
        </p:txBody>
      </p:sp>
      <p:sp>
        <p:nvSpPr>
          <p:cNvPr id="8" name="Retângulo 7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cxnSp>
        <p:nvCxnSpPr>
          <p:cNvPr id="9" name="Conector reto 8"/>
          <p:cNvCxnSpPr/>
          <p:nvPr/>
        </p:nvCxnSpPr>
        <p:spPr>
          <a:xfrm>
            <a:off x="2609850" y="2924175"/>
            <a:ext cx="6534150" cy="769"/>
          </a:xfrm>
          <a:prstGeom prst="line">
            <a:avLst/>
          </a:prstGeom>
          <a:ln w="22225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to 9"/>
          <p:cNvCxnSpPr/>
          <p:nvPr/>
        </p:nvCxnSpPr>
        <p:spPr>
          <a:xfrm flipV="1">
            <a:off x="2609850" y="2996953"/>
            <a:ext cx="6534150" cy="3422"/>
          </a:xfrm>
          <a:prstGeom prst="line">
            <a:avLst/>
          </a:prstGeom>
          <a:ln w="2222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Imagem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ransition>
    <p:wipe dir="d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AutoShape 2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4820" name="AutoShape 4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1" name="CaixaDeTexto 1"/>
          <p:cNvSpPr txBox="1">
            <a:spLocks noChangeArrowheads="1"/>
          </p:cNvSpPr>
          <p:nvPr/>
        </p:nvSpPr>
        <p:spPr bwMode="auto">
          <a:xfrm>
            <a:off x="35496" y="395953"/>
            <a:ext cx="783374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3200" b="1" dirty="0" smtClean="0">
                <a:solidFill>
                  <a:schemeClr val="tx2"/>
                </a:solidFill>
              </a:rPr>
              <a:t>   </a:t>
            </a:r>
            <a:r>
              <a:rPr lang="pt-BR" sz="3200" b="1" dirty="0" smtClean="0">
                <a:solidFill>
                  <a:srgbClr val="339966"/>
                </a:solidFill>
              </a:rPr>
              <a:t>Aplicação </a:t>
            </a:r>
            <a:r>
              <a:rPr lang="pt-BR" sz="3200" b="1" dirty="0">
                <a:solidFill>
                  <a:srgbClr val="339966"/>
                </a:solidFill>
              </a:rPr>
              <a:t>de Recursos na Educação</a:t>
            </a:r>
          </a:p>
        </p:txBody>
      </p:sp>
      <p:pic>
        <p:nvPicPr>
          <p:cNvPr id="12" name="Imagem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tângulo 13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rgbClr val="7CBF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7082029" y="1928121"/>
            <a:ext cx="9957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Em R$ 1,00</a:t>
            </a:r>
            <a:endParaRPr lang="pt-BR" sz="1200" i="1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7088006" y="4267777"/>
            <a:ext cx="9813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Fonte: SOF</a:t>
            </a:r>
            <a:endParaRPr lang="pt-BR" sz="1200" i="1" dirty="0"/>
          </a:p>
        </p:txBody>
      </p:sp>
      <p:graphicFrame>
        <p:nvGraphicFramePr>
          <p:cNvPr id="16" name="Tabela 15"/>
          <p:cNvGraphicFramePr>
            <a:graphicFrameLocks noGrp="1"/>
          </p:cNvGraphicFramePr>
          <p:nvPr/>
        </p:nvGraphicFramePr>
        <p:xfrm>
          <a:off x="1285852" y="2285992"/>
          <a:ext cx="6715172" cy="1853248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4896046"/>
                <a:gridCol w="1819126"/>
              </a:tblGrid>
              <a:tr h="45921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1" u="none" strike="noStrike" dirty="0"/>
                        <a:t>ENSINO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46" marR="9446" marT="9446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1" u="none" strike="noStrike" dirty="0"/>
                        <a:t>VALORES FIXADOS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46" marR="9446" marT="9446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459212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600" u="none" strike="noStrike" dirty="0"/>
                        <a:t> Gastos com Ensino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46" marR="9446" marT="944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600" u="none" strike="noStrike" dirty="0"/>
                        <a:t>1.598.202.362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46" marR="9446" marT="9446" marB="0" anchor="ctr"/>
                </a:tc>
              </a:tr>
              <a:tr h="459212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600" u="none" strike="noStrike"/>
                        <a:t> Receita de impostos e transferências constitucionais</a:t>
                      </a:r>
                      <a:endParaRPr lang="pt-BR" sz="1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46" marR="9446" marT="944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600" u="none" strike="noStrike"/>
                        <a:t>5.279.972.053</a:t>
                      </a:r>
                      <a:endParaRPr lang="pt-BR" sz="1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46" marR="9446" marT="9446" marB="0" anchor="ctr"/>
                </a:tc>
              </a:tr>
              <a:tr h="475612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600" b="1" u="none" strike="noStrike" dirty="0"/>
                        <a:t> % da aplicação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46" marR="9446" marT="944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600" b="1" u="none" strike="noStrike" dirty="0"/>
                        <a:t>30,27%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46" marR="9446" marT="9446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7747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AutoShape 2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4820" name="AutoShape 4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1" name="CaixaDeTexto 1"/>
          <p:cNvSpPr txBox="1">
            <a:spLocks noChangeArrowheads="1"/>
          </p:cNvSpPr>
          <p:nvPr/>
        </p:nvSpPr>
        <p:spPr bwMode="auto">
          <a:xfrm>
            <a:off x="35496" y="395953"/>
            <a:ext cx="783374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3200" b="1" dirty="0" smtClean="0">
                <a:solidFill>
                  <a:schemeClr val="tx2"/>
                </a:solidFill>
              </a:rPr>
              <a:t>   </a:t>
            </a:r>
            <a:r>
              <a:rPr lang="pt-BR" sz="3200" b="1" dirty="0" smtClean="0">
                <a:solidFill>
                  <a:srgbClr val="339966"/>
                </a:solidFill>
              </a:rPr>
              <a:t>Aplicação </a:t>
            </a:r>
            <a:r>
              <a:rPr lang="pt-BR" sz="3200" b="1" dirty="0">
                <a:solidFill>
                  <a:srgbClr val="339966"/>
                </a:solidFill>
              </a:rPr>
              <a:t>de Recursos na </a:t>
            </a:r>
            <a:r>
              <a:rPr lang="pt-BR" sz="3200" b="1" dirty="0" smtClean="0">
                <a:solidFill>
                  <a:srgbClr val="339966"/>
                </a:solidFill>
              </a:rPr>
              <a:t>Saúde</a:t>
            </a:r>
            <a:endParaRPr lang="pt-BR" sz="3200" b="1" dirty="0">
              <a:solidFill>
                <a:srgbClr val="339966"/>
              </a:solidFill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7082029" y="1916832"/>
            <a:ext cx="9957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Em R$ 1,00</a:t>
            </a:r>
            <a:endParaRPr lang="pt-BR" sz="1200" i="1" dirty="0"/>
          </a:p>
        </p:txBody>
      </p:sp>
      <p:sp>
        <p:nvSpPr>
          <p:cNvPr id="9" name="CaixaDeTexto 8"/>
          <p:cNvSpPr txBox="1"/>
          <p:nvPr/>
        </p:nvSpPr>
        <p:spPr>
          <a:xfrm>
            <a:off x="7088006" y="4267777"/>
            <a:ext cx="9813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Fonte: SOF</a:t>
            </a:r>
            <a:endParaRPr lang="pt-BR" sz="1200" i="1" dirty="0"/>
          </a:p>
        </p:txBody>
      </p:sp>
      <p:pic>
        <p:nvPicPr>
          <p:cNvPr id="16" name="Imagem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tângulo 11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rgbClr val="7CBF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graphicFrame>
        <p:nvGraphicFramePr>
          <p:cNvPr id="14" name="Tabela 13"/>
          <p:cNvGraphicFramePr>
            <a:graphicFrameLocks noGrp="1"/>
          </p:cNvGraphicFramePr>
          <p:nvPr/>
        </p:nvGraphicFramePr>
        <p:xfrm>
          <a:off x="1643042" y="2285993"/>
          <a:ext cx="6357982" cy="1785949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4635618"/>
                <a:gridCol w="1722364"/>
              </a:tblGrid>
              <a:tr h="442536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1" u="none" strike="noStrike" dirty="0"/>
                        <a:t>SAÚDE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46" marR="9446" marT="9446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1" u="none" strike="noStrike" dirty="0"/>
                        <a:t>VALORES FIXADOS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46" marR="9446" marT="9446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442536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600" u="none" strike="noStrike"/>
                        <a:t> Gastos com Saúde</a:t>
                      </a:r>
                      <a:endParaRPr lang="pt-BR" sz="1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46" marR="9446" marT="944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600" u="none" strike="noStrike" dirty="0"/>
                        <a:t>1.175.035.373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46" marR="9446" marT="9446" marB="0" anchor="ctr"/>
                </a:tc>
              </a:tr>
              <a:tr h="442536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600" u="none" strike="noStrike"/>
                        <a:t> Receita de impostos e transferências constitucionais</a:t>
                      </a:r>
                      <a:endParaRPr lang="pt-BR" sz="1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46" marR="9446" marT="944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600" u="none" strike="noStrike"/>
                        <a:t>5.279.972.053</a:t>
                      </a:r>
                      <a:endParaRPr lang="pt-BR" sz="16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46" marR="9446" marT="9446" marB="0" anchor="ctr"/>
                </a:tc>
              </a:tr>
              <a:tr h="458341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600" b="1" u="none" strike="noStrike" dirty="0"/>
                        <a:t> % da aplicação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46" marR="9446" marT="9446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600" b="1" u="none" strike="noStrike" dirty="0"/>
                        <a:t>22,25%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446" marR="9446" marT="9446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77479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AutoShape 2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4820" name="AutoShape 4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1" name="CaixaDeTexto 1"/>
          <p:cNvSpPr txBox="1">
            <a:spLocks noChangeArrowheads="1"/>
          </p:cNvSpPr>
          <p:nvPr/>
        </p:nvSpPr>
        <p:spPr bwMode="auto">
          <a:xfrm>
            <a:off x="35496" y="323945"/>
            <a:ext cx="8064896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3100" b="1" dirty="0" smtClean="0">
                <a:solidFill>
                  <a:schemeClr val="tx2"/>
                </a:solidFill>
              </a:rPr>
              <a:t>   </a:t>
            </a:r>
            <a:r>
              <a:rPr lang="pt-BR" sz="3100" b="1" dirty="0" smtClean="0">
                <a:solidFill>
                  <a:srgbClr val="339966"/>
                </a:solidFill>
              </a:rPr>
              <a:t>Orçamento </a:t>
            </a:r>
            <a:r>
              <a:rPr lang="pt-BR" sz="3100" b="1" dirty="0">
                <a:solidFill>
                  <a:srgbClr val="339966"/>
                </a:solidFill>
              </a:rPr>
              <a:t>Criança e Adolescente (OCA) </a:t>
            </a:r>
            <a:r>
              <a:rPr lang="pt-BR" sz="3100" b="1" dirty="0" smtClean="0">
                <a:solidFill>
                  <a:srgbClr val="339966"/>
                </a:solidFill>
              </a:rPr>
              <a:t>2016</a:t>
            </a:r>
            <a:endParaRPr lang="pt-BR" sz="3100" b="1" dirty="0">
              <a:solidFill>
                <a:srgbClr val="339966"/>
              </a:solidFill>
            </a:endParaRPr>
          </a:p>
        </p:txBody>
      </p:sp>
      <p:sp>
        <p:nvSpPr>
          <p:cNvPr id="9" name="CaixaDeTexto 8"/>
          <p:cNvSpPr txBox="1"/>
          <p:nvPr/>
        </p:nvSpPr>
        <p:spPr>
          <a:xfrm>
            <a:off x="7669382" y="1050601"/>
            <a:ext cx="9957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Em R$ 1,00</a:t>
            </a:r>
            <a:endParaRPr lang="pt-BR" sz="1200" i="1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7668344" y="5627381"/>
            <a:ext cx="9813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Fonte: SOF</a:t>
            </a:r>
            <a:endParaRPr lang="pt-BR" sz="1200" i="1" dirty="0"/>
          </a:p>
        </p:txBody>
      </p:sp>
      <p:pic>
        <p:nvPicPr>
          <p:cNvPr id="16" name="Imagem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Retângulo 13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rgbClr val="7CBF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graphicFrame>
        <p:nvGraphicFramePr>
          <p:cNvPr id="10" name="Tabela 9"/>
          <p:cNvGraphicFramePr>
            <a:graphicFrameLocks noGrp="1"/>
          </p:cNvGraphicFramePr>
          <p:nvPr/>
        </p:nvGraphicFramePr>
        <p:xfrm>
          <a:off x="1331640" y="1392690"/>
          <a:ext cx="7024864" cy="4166913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3144463"/>
                <a:gridCol w="1338069"/>
                <a:gridCol w="1271166"/>
                <a:gridCol w="1271166"/>
              </a:tblGrid>
              <a:tr h="32663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EIXO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SUB-EIXO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LOA 2015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PLOA 2016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314068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 ACESSO À EDUCAÇÃO DE QUALIDADE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100" u="none" strike="noStrike" dirty="0"/>
                        <a:t> 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2.030.510.690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1.861.708.408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314068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 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 Cultura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28.142.652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26.176.513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</a:tr>
              <a:tr h="31406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 Desporto e Lazer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28.505.657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24.544.057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</a:tr>
              <a:tr h="31406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 Educação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1.973.862.381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1.810.987.838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</a:tr>
              <a:tr h="314068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 PROMOÇÃO DE DIREITOS E PROTEÇÃO INTEGRAL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 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136.609.919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157.672.075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314068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 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 Assistência Social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134.102.719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/>
                        <a:t>154.766.879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</a:tr>
              <a:tr h="31406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 Direitos da Cidadania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2.507.20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/>
                        <a:t>2.905.196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</a:tr>
              <a:tr h="314068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 PROMOVENDO VIDAS SAUDÁVEIS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 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1.272.845.677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1.300.239.240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</a:tr>
              <a:tr h="314068">
                <a:tc rowSpan="3"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 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 Habitação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92.318.866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/>
                        <a:t>94.953.803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</a:tr>
              <a:tr h="31406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 Saneamento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288.506.92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/>
                        <a:t>252.478.844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</a:tr>
              <a:tr h="314068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 Saúde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892.019.891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 dirty="0"/>
                        <a:t>952.806.593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/>
                </a:tc>
              </a:tr>
              <a:tr h="32663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TOTAL GERAL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 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b="1" u="none" strike="noStrike" dirty="0"/>
                        <a:t>3.439.966.286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b="1" u="none" strike="noStrike" dirty="0"/>
                        <a:t>3.319.619.723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11" marR="7211" marT="7211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3624420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AutoShape 2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4820" name="AutoShape 4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3" name="CaixaDeTexto 1"/>
          <p:cNvSpPr txBox="1">
            <a:spLocks noChangeArrowheads="1"/>
          </p:cNvSpPr>
          <p:nvPr/>
        </p:nvSpPr>
        <p:spPr bwMode="auto">
          <a:xfrm>
            <a:off x="35496" y="411341"/>
            <a:ext cx="8064896" cy="56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3100" b="1" dirty="0" smtClean="0">
                <a:solidFill>
                  <a:schemeClr val="tx2"/>
                </a:solidFill>
              </a:rPr>
              <a:t>   </a:t>
            </a:r>
            <a:r>
              <a:rPr lang="pt-BR" sz="3100" b="1" dirty="0" smtClean="0">
                <a:solidFill>
                  <a:srgbClr val="339966"/>
                </a:solidFill>
              </a:rPr>
              <a:t>Orçamento </a:t>
            </a:r>
            <a:r>
              <a:rPr lang="pt-BR" sz="3100" b="1" dirty="0">
                <a:solidFill>
                  <a:srgbClr val="339966"/>
                </a:solidFill>
              </a:rPr>
              <a:t>Temático do </a:t>
            </a:r>
            <a:r>
              <a:rPr lang="pt-BR" sz="3100" b="1" dirty="0" smtClean="0">
                <a:solidFill>
                  <a:srgbClr val="339966"/>
                </a:solidFill>
              </a:rPr>
              <a:t>Idoso 2016</a:t>
            </a:r>
            <a:endParaRPr lang="pt-BR" sz="3100" b="1" dirty="0">
              <a:solidFill>
                <a:srgbClr val="339966"/>
              </a:solidFill>
            </a:endParaRPr>
          </a:p>
        </p:txBody>
      </p:sp>
      <p:sp>
        <p:nvSpPr>
          <p:cNvPr id="15" name="CaixaDeTexto 14"/>
          <p:cNvSpPr txBox="1"/>
          <p:nvPr/>
        </p:nvSpPr>
        <p:spPr>
          <a:xfrm>
            <a:off x="7419491" y="1689263"/>
            <a:ext cx="9957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Em R$ 1,00</a:t>
            </a:r>
            <a:endParaRPr lang="pt-BR" sz="1200" i="1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7423935" y="4554276"/>
            <a:ext cx="9813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Fonte: SOF</a:t>
            </a:r>
            <a:endParaRPr lang="pt-BR" sz="1200" i="1" dirty="0"/>
          </a:p>
        </p:txBody>
      </p:sp>
      <p:pic>
        <p:nvPicPr>
          <p:cNvPr id="10" name="Imagem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tângulo 10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rgbClr val="7CBF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graphicFrame>
        <p:nvGraphicFramePr>
          <p:cNvPr id="16" name="Tabela 15"/>
          <p:cNvGraphicFramePr>
            <a:graphicFrameLocks noGrp="1"/>
          </p:cNvGraphicFramePr>
          <p:nvPr/>
        </p:nvGraphicFramePr>
        <p:xfrm>
          <a:off x="1285851" y="2000240"/>
          <a:ext cx="7072364" cy="2500328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4572033"/>
                <a:gridCol w="1214446"/>
                <a:gridCol w="1285885"/>
              </a:tblGrid>
              <a:tr h="526385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u="none" strike="noStrike" dirty="0"/>
                        <a:t>EIXO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283" marR="8283" marT="8283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u="none" strike="noStrike" dirty="0"/>
                        <a:t>LOA 2015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283" marR="8283" marT="8283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u="none" strike="noStrike" dirty="0"/>
                        <a:t>PLOA 2016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283" marR="8283" marT="8283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488786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/>
                        <a:t> Direitos Humanos, Cidadania, Segurança e Proteção Soci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283" marR="8283" marT="8283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/>
                        <a:t>80.002.94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283" marR="8283" marT="8283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/>
                        <a:t>87.711.57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283" marR="8283" marT="8283" marB="0" anchor="ctr"/>
                </a:tc>
              </a:tr>
              <a:tr h="488786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 dirty="0"/>
                        <a:t> Educação, Qualificação, Geração de Trabalho e Renda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283" marR="8283" marT="8283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18.406.284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283" marR="8283" marT="8283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/>
                        <a:t>15.556.099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283" marR="8283" marT="8283" marB="0" anchor="ctr"/>
                </a:tc>
              </a:tr>
              <a:tr h="488786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 dirty="0"/>
                        <a:t> Promovendo Vidas Saudáveis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283" marR="8283" marT="8283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/>
                        <a:t>868.921.547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283" marR="8283" marT="8283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u="none" strike="noStrike" dirty="0"/>
                        <a:t>880.489.531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283" marR="8283" marT="8283" marB="0" anchor="ctr"/>
                </a:tc>
              </a:tr>
              <a:tr h="507585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u="none" strike="noStrike" dirty="0"/>
                        <a:t>TOTAL GERAL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283" marR="8283" marT="8283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b="1" u="none" strike="noStrike" dirty="0"/>
                        <a:t>967.330.774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283" marR="8283" marT="8283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400" b="1" u="none" strike="noStrike" dirty="0"/>
                        <a:t>983.757.206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8283" marR="8283" marT="8283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9232643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CaixaDeTexto 1"/>
          <p:cNvSpPr txBox="1">
            <a:spLocks noChangeArrowheads="1"/>
          </p:cNvSpPr>
          <p:nvPr/>
        </p:nvSpPr>
        <p:spPr bwMode="auto">
          <a:xfrm>
            <a:off x="1116013" y="260648"/>
            <a:ext cx="6840537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150000"/>
              </a:lnSpc>
            </a:pPr>
            <a:r>
              <a:rPr lang="pt-BR" altLang="pt-BR" sz="3600" b="1" dirty="0" smtClean="0">
                <a:latin typeface="+mj-lt"/>
              </a:rPr>
              <a:t>PRINCIPAIS METAS FÍSICAS</a:t>
            </a:r>
          </a:p>
          <a:p>
            <a:pPr algn="ctr">
              <a:lnSpc>
                <a:spcPct val="150000"/>
              </a:lnSpc>
            </a:pPr>
            <a:r>
              <a:rPr lang="pt-BR" altLang="pt-BR" sz="3600" b="1" dirty="0" smtClean="0">
                <a:latin typeface="+mj-lt"/>
              </a:rPr>
              <a:t>PLOA 2016</a:t>
            </a:r>
            <a:endParaRPr lang="pt-BR" altLang="pt-BR" sz="3600" b="1" dirty="0">
              <a:latin typeface="+mj-lt"/>
            </a:endParaRPr>
          </a:p>
        </p:txBody>
      </p:sp>
      <p:sp>
        <p:nvSpPr>
          <p:cNvPr id="17411" name="Retângulo 2"/>
          <p:cNvSpPr>
            <a:spLocks noChangeArrowheads="1"/>
          </p:cNvSpPr>
          <p:nvPr/>
        </p:nvSpPr>
        <p:spPr bwMode="auto">
          <a:xfrm>
            <a:off x="2915816" y="2060848"/>
            <a:ext cx="3261214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spcBef>
                <a:spcPct val="50000"/>
              </a:spcBef>
              <a:buClr>
                <a:schemeClr val="accent2"/>
              </a:buClr>
            </a:pPr>
            <a:r>
              <a:rPr lang="pt-BR" altLang="pt-BR" sz="2600" b="1" dirty="0" smtClean="0">
                <a:solidFill>
                  <a:srgbClr val="DF4A21"/>
                </a:solidFill>
                <a:latin typeface="+mj-lt"/>
              </a:rPr>
              <a:t>Por </a:t>
            </a:r>
            <a:r>
              <a:rPr lang="pt-BR" altLang="pt-BR" sz="2600" b="1" dirty="0">
                <a:solidFill>
                  <a:srgbClr val="DF4A21"/>
                </a:solidFill>
                <a:latin typeface="+mj-lt"/>
              </a:rPr>
              <a:t>Área de Resultado</a:t>
            </a:r>
          </a:p>
        </p:txBody>
      </p:sp>
      <p:pic>
        <p:nvPicPr>
          <p:cNvPr id="7" name="Picture 1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91680" y="2636912"/>
            <a:ext cx="5688632" cy="3380093"/>
          </a:xfrm>
          <a:prstGeom prst="rect">
            <a:avLst/>
          </a:prstGeom>
          <a:ln>
            <a:noFill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pic>
        <p:nvPicPr>
          <p:cNvPr id="11" name="Imagem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tângulo 7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</p:spTree>
  </p:cSld>
  <p:clrMapOvr>
    <a:masterClrMapping/>
  </p:clrMapOvr>
  <p:transition>
    <p:wipe dir="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/>
          <p:cNvSpPr>
            <a:spLocks noGrp="1"/>
          </p:cNvSpPr>
          <p:nvPr>
            <p:ph type="title"/>
          </p:nvPr>
        </p:nvSpPr>
        <p:spPr>
          <a:xfrm>
            <a:off x="539552" y="836712"/>
            <a:ext cx="7931224" cy="922114"/>
          </a:xfrm>
        </p:spPr>
        <p:txBody>
          <a:bodyPr/>
          <a:lstStyle/>
          <a:p>
            <a:pPr algn="l"/>
            <a:r>
              <a:rPr lang="pt-BR" sz="3200" b="1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Principais Metas/Resultados</a:t>
            </a:r>
            <a:endParaRPr lang="pt-BR" sz="3200" b="1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11560" y="1844824"/>
            <a:ext cx="8229600" cy="4525963"/>
          </a:xfrm>
        </p:spPr>
        <p:txBody>
          <a:bodyPr/>
          <a:lstStyle/>
          <a:p>
            <a:r>
              <a:rPr lang="pt-BR" sz="2200" b="1" dirty="0" smtClean="0"/>
              <a:t>Equipamentos a serem implantados:</a:t>
            </a:r>
          </a:p>
          <a:p>
            <a:pPr lvl="1"/>
            <a:r>
              <a:rPr lang="pt-BR" sz="2200" dirty="0" smtClean="0"/>
              <a:t>MIS CINE Santa Tereza </a:t>
            </a:r>
          </a:p>
          <a:p>
            <a:pPr lvl="1">
              <a:buNone/>
            </a:pPr>
            <a:endParaRPr lang="pt-BR" sz="2200" dirty="0" smtClean="0"/>
          </a:p>
          <a:p>
            <a:r>
              <a:rPr lang="pt-BR" sz="2200" b="1" dirty="0" smtClean="0"/>
              <a:t>Realização de Eventos:</a:t>
            </a:r>
          </a:p>
          <a:p>
            <a:pPr lvl="1"/>
            <a:r>
              <a:rPr lang="pt-BR" sz="2200" dirty="0" smtClean="0"/>
              <a:t>Festival Internacional de Teatro - FIT </a:t>
            </a:r>
          </a:p>
          <a:p>
            <a:pPr lvl="1"/>
            <a:r>
              <a:rPr lang="pt-BR" sz="2200" dirty="0" smtClean="0"/>
              <a:t>Virada Cultural </a:t>
            </a:r>
          </a:p>
        </p:txBody>
      </p:sp>
      <p:pic>
        <p:nvPicPr>
          <p:cNvPr id="4" name="Picture 7" descr="Cultura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1560" y="404664"/>
            <a:ext cx="2111375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tângulo 4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pic>
        <p:nvPicPr>
          <p:cNvPr id="7" name="Imagem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95536" y="1916832"/>
            <a:ext cx="8229600" cy="4525963"/>
          </a:xfrm>
        </p:spPr>
        <p:txBody>
          <a:bodyPr/>
          <a:lstStyle/>
          <a:p>
            <a:r>
              <a:rPr lang="pt-BR" sz="2200" dirty="0" smtClean="0"/>
              <a:t>Programa </a:t>
            </a:r>
            <a:r>
              <a:rPr lang="pt-BR" sz="2200" dirty="0" smtClean="0"/>
              <a:t>Família Cidadã - BH Sem Miséria: atendimento a 3.240 famílias; </a:t>
            </a:r>
          </a:p>
          <a:p>
            <a:r>
              <a:rPr lang="pt-BR" sz="2200" dirty="0" smtClean="0"/>
              <a:t>Centro de Referência da Pessoa Idosa: 25 mil atendimentos;</a:t>
            </a:r>
          </a:p>
          <a:p>
            <a:r>
              <a:rPr lang="pt-BR" sz="2200" dirty="0" smtClean="0"/>
              <a:t>Serviço de Proteção e Atendimento Integral à 170 mil famílias;</a:t>
            </a:r>
          </a:p>
          <a:p>
            <a:r>
              <a:rPr lang="pt-BR" sz="2200" dirty="0" smtClean="0"/>
              <a:t>Combate ao Trabalho Infantil: atendimento a 612 crianças e adolescentes;</a:t>
            </a:r>
          </a:p>
          <a:p>
            <a:r>
              <a:rPr lang="pt-BR" sz="2200" dirty="0" smtClean="0"/>
              <a:t>Grupo de Convivência para Idosos: atendimento a 6 mil idosos;</a:t>
            </a:r>
          </a:p>
          <a:p>
            <a:pPr>
              <a:buNone/>
            </a:pPr>
            <a:endParaRPr lang="pt-BR" sz="2800" dirty="0" smtClean="0"/>
          </a:p>
          <a:p>
            <a:endParaRPr lang="pt-BR" sz="2800" dirty="0"/>
          </a:p>
        </p:txBody>
      </p:sp>
      <p:pic>
        <p:nvPicPr>
          <p:cNvPr id="4" name="Picture 9" descr="DeTodos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7544" y="404664"/>
            <a:ext cx="3543300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ítulo 5"/>
          <p:cNvSpPr txBox="1">
            <a:spLocks/>
          </p:cNvSpPr>
          <p:nvPr/>
        </p:nvSpPr>
        <p:spPr bwMode="auto">
          <a:xfrm>
            <a:off x="467544" y="836712"/>
            <a:ext cx="7931224" cy="922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rincipais Metas/Resultados</a:t>
            </a:r>
            <a:endParaRPr kumimoji="0" lang="pt-BR" sz="3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pic>
        <p:nvPicPr>
          <p:cNvPr id="6" name="Imagem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DeTodos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7544" y="404664"/>
            <a:ext cx="3543300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ítulo 5"/>
          <p:cNvSpPr txBox="1">
            <a:spLocks/>
          </p:cNvSpPr>
          <p:nvPr/>
        </p:nvSpPr>
        <p:spPr bwMode="auto">
          <a:xfrm>
            <a:off x="467544" y="836712"/>
            <a:ext cx="7931224" cy="922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rincipais Metas/Resultados</a:t>
            </a:r>
            <a:endParaRPr kumimoji="0" lang="pt-BR" sz="3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Espaço Reservado para Conteúdo 2"/>
          <p:cNvSpPr>
            <a:spLocks noGrp="1"/>
          </p:cNvSpPr>
          <p:nvPr>
            <p:ph idx="1"/>
          </p:nvPr>
        </p:nvSpPr>
        <p:spPr>
          <a:xfrm>
            <a:off x="395536" y="1772816"/>
            <a:ext cx="8229600" cy="4525963"/>
          </a:xfrm>
        </p:spPr>
        <p:txBody>
          <a:bodyPr/>
          <a:lstStyle/>
          <a:p>
            <a:r>
              <a:rPr lang="pt-BR" sz="2200" dirty="0" smtClean="0"/>
              <a:t>Programa de Intermediação de Mão de Obra para Pessoa com Deficiência – PROMETI: 3.200 vagas;</a:t>
            </a:r>
          </a:p>
          <a:p>
            <a:r>
              <a:rPr lang="pt-BR" sz="2200" dirty="0" smtClean="0"/>
              <a:t>Restaurantes e Refeitórios Populares: 3.200.000 refeições;</a:t>
            </a:r>
          </a:p>
          <a:p>
            <a:r>
              <a:rPr lang="pt-BR" sz="2200" dirty="0" smtClean="0"/>
              <a:t>Programa Segundo Tempo e Recreio nas Férias: atendimento a 20.000 alunos;</a:t>
            </a:r>
          </a:p>
          <a:p>
            <a:r>
              <a:rPr lang="pt-BR" sz="2200" dirty="0" smtClean="0"/>
              <a:t>Programa Vida Ativa: 5.000 idosos participantes;</a:t>
            </a:r>
          </a:p>
          <a:p>
            <a:r>
              <a:rPr lang="pt-BR" sz="2200" dirty="0" smtClean="0"/>
              <a:t>Projeto Caminhar / BH Cidadania: 39.500 atendimentos.</a:t>
            </a:r>
          </a:p>
          <a:p>
            <a:endParaRPr lang="pt-BR" sz="2400" dirty="0" smtClean="0"/>
          </a:p>
        </p:txBody>
      </p:sp>
      <p:sp>
        <p:nvSpPr>
          <p:cNvPr id="5" name="Retângulo 4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pic>
        <p:nvPicPr>
          <p:cNvPr id="8" name="Imagem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95536" y="1844824"/>
            <a:ext cx="8229600" cy="4525963"/>
          </a:xfrm>
        </p:spPr>
        <p:txBody>
          <a:bodyPr/>
          <a:lstStyle/>
          <a:p>
            <a:r>
              <a:rPr lang="pt-BR" sz="2400" dirty="0" smtClean="0"/>
              <a:t>Realização do OP Digital/2016;</a:t>
            </a:r>
          </a:p>
          <a:p>
            <a:r>
              <a:rPr lang="pt-BR" sz="2400" dirty="0" smtClean="0"/>
              <a:t>Realização do Orçamento Participativo Criança e Adolescente - OPCA nas Escolas Municipais.</a:t>
            </a:r>
          </a:p>
          <a:p>
            <a:pPr>
              <a:buNone/>
            </a:pPr>
            <a:endParaRPr lang="pt-BR" sz="2400" dirty="0"/>
          </a:p>
        </p:txBody>
      </p:sp>
      <p:pic>
        <p:nvPicPr>
          <p:cNvPr id="4" name="Picture 21" descr="Compartilhada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260648"/>
            <a:ext cx="4321175" cy="603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ítulo 5"/>
          <p:cNvSpPr txBox="1">
            <a:spLocks/>
          </p:cNvSpPr>
          <p:nvPr/>
        </p:nvSpPr>
        <p:spPr bwMode="auto">
          <a:xfrm>
            <a:off x="323528" y="692696"/>
            <a:ext cx="7931224" cy="922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rincipais Metas/Resultados</a:t>
            </a:r>
            <a:endParaRPr kumimoji="0" lang="pt-BR" sz="3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pic>
        <p:nvPicPr>
          <p:cNvPr id="7" name="Imagem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95536" y="1772816"/>
            <a:ext cx="8352928" cy="4824536"/>
          </a:xfrm>
        </p:spPr>
        <p:txBody>
          <a:bodyPr/>
          <a:lstStyle/>
          <a:p>
            <a:r>
              <a:rPr lang="pt-BR" sz="2200" dirty="0" smtClean="0"/>
              <a:t>Formação de 4.680 Professores da Educação Infantil;</a:t>
            </a:r>
          </a:p>
          <a:p>
            <a:r>
              <a:rPr lang="pt-BR" sz="2200" dirty="0" smtClean="0"/>
              <a:t>Administração do Ensino Fundamental: 128 mil alunos matriculados;</a:t>
            </a:r>
          </a:p>
          <a:p>
            <a:r>
              <a:rPr lang="pt-BR" sz="2200" dirty="0" smtClean="0"/>
              <a:t>Administração da Educação Infantil: 45 mil alunos matriculados;</a:t>
            </a:r>
          </a:p>
          <a:p>
            <a:r>
              <a:rPr lang="pt-BR" sz="2200" dirty="0" smtClean="0"/>
              <a:t>Creches Conveniadas: 24.730 alunos beneficiados;</a:t>
            </a:r>
          </a:p>
          <a:p>
            <a:r>
              <a:rPr lang="pt-BR" sz="2200" dirty="0" smtClean="0"/>
              <a:t>Transporte Escolar: 7 mil alunos beneficiados, mais 587 alunos com deficiência no transporte acessível;</a:t>
            </a:r>
          </a:p>
          <a:p>
            <a:endParaRPr lang="pt-BR" dirty="0"/>
          </a:p>
        </p:txBody>
      </p:sp>
      <p:pic>
        <p:nvPicPr>
          <p:cNvPr id="4" name="Picture 9" descr="Educacao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88640"/>
            <a:ext cx="2416175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ítulo 5"/>
          <p:cNvSpPr txBox="1">
            <a:spLocks/>
          </p:cNvSpPr>
          <p:nvPr/>
        </p:nvSpPr>
        <p:spPr bwMode="auto">
          <a:xfrm>
            <a:off x="323528" y="692696"/>
            <a:ext cx="7931224" cy="922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rincipais Metas/Resultados</a:t>
            </a:r>
            <a:endParaRPr kumimoji="0" lang="pt-BR" sz="3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pic>
        <p:nvPicPr>
          <p:cNvPr id="7" name="Imagem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AutoShape 2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4820" name="AutoShape 4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1" name="CaixaDeTexto 1"/>
          <p:cNvSpPr txBox="1">
            <a:spLocks noChangeArrowheads="1"/>
          </p:cNvSpPr>
          <p:nvPr/>
        </p:nvSpPr>
        <p:spPr bwMode="auto">
          <a:xfrm>
            <a:off x="253618" y="179929"/>
            <a:ext cx="7054686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3200" b="1" dirty="0">
                <a:solidFill>
                  <a:schemeClr val="tx2"/>
                </a:solidFill>
              </a:rPr>
              <a:t>Estimativa das Receitas / </a:t>
            </a:r>
            <a:r>
              <a:rPr lang="pt-BR" sz="3200" b="1" dirty="0" smtClean="0">
                <a:solidFill>
                  <a:schemeClr val="tx2"/>
                </a:solidFill>
              </a:rPr>
              <a:t>2016</a:t>
            </a:r>
            <a:endParaRPr lang="pt-BR" sz="3200" b="1" dirty="0">
              <a:solidFill>
                <a:schemeClr val="tx2"/>
              </a:solidFill>
              <a:latin typeface="Arial Narrow" pitchFamily="34" charset="0"/>
            </a:endParaRPr>
          </a:p>
        </p:txBody>
      </p:sp>
      <p:sp>
        <p:nvSpPr>
          <p:cNvPr id="12" name="Espaço Reservado para Conteúdo 2"/>
          <p:cNvSpPr txBox="1">
            <a:spLocks/>
          </p:cNvSpPr>
          <p:nvPr/>
        </p:nvSpPr>
        <p:spPr bwMode="auto">
          <a:xfrm>
            <a:off x="475093" y="881868"/>
            <a:ext cx="8345379" cy="54727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lvl="0" algn="just" eaLnBrk="0" hangingPunct="0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kumimoji="0" lang="pt-BR" sz="26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pt-BR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cs typeface="+mn-cs"/>
              </a:rPr>
              <a:t>Baseada nos índices de crescimento econômico do país e nos índices inflacionários indicados na LDO/2016 </a:t>
            </a:r>
            <a:r>
              <a:rPr lang="pt-BR" sz="2200" kern="0" dirty="0" smtClean="0">
                <a:latin typeface="+mj-lt"/>
                <a:cs typeface="+mn-cs"/>
              </a:rPr>
              <a:t>(5,63% inflação e 1,11% PIB)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t-BR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cs typeface="+mn-cs"/>
              </a:rPr>
              <a:t> Considera esforços de combate a sonegação fiscal e a </a:t>
            </a:r>
            <a:r>
              <a:rPr kumimoji="0" lang="pt-BR" sz="2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cs typeface="+mn-cs"/>
              </a:rPr>
              <a:t>redução do estoque da dívida ativa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t-BR" sz="2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cs typeface="+mn-cs"/>
              </a:rPr>
              <a:t> Previsão no Orçamento da União de continuidade dos repasses aos Estados e Municípios, para novos investimentos e garantia de continuidade de projetos em andamento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t-BR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cs typeface="+mn-cs"/>
              </a:rPr>
              <a:t> Venda de imóveis e terrenos do patrimônio municipal: </a:t>
            </a:r>
            <a:r>
              <a:rPr kumimoji="0" lang="pt-BR" sz="2200" b="0" i="0" u="none" strike="noStrike" kern="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cs typeface="+mn-cs"/>
              </a:rPr>
              <a:t>autorizações a serem apreciadas pela CMBH;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pt-BR" sz="2200" b="0" i="0" u="none" strike="noStrike" kern="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cs typeface="+mn-cs"/>
              </a:rPr>
              <a:t> Recursos de operações de crédito, já aprovadas pelo Legislativo, para financiamento de investimentos.</a:t>
            </a:r>
          </a:p>
          <a:p>
            <a:pPr algn="just" eaLnBrk="0" hangingPunct="0">
              <a:spcBef>
                <a:spcPct val="20000"/>
              </a:spcBef>
              <a:spcAft>
                <a:spcPts val="600"/>
              </a:spcAft>
              <a:buFont typeface="Arial" pitchFamily="34" charset="0"/>
              <a:buChar char="•"/>
              <a:defRPr/>
            </a:pPr>
            <a:r>
              <a:rPr lang="pt-BR" sz="2200" kern="0" dirty="0">
                <a:latin typeface="+mj-lt"/>
                <a:cs typeface="+mn-cs"/>
              </a:rPr>
              <a:t> </a:t>
            </a:r>
            <a:r>
              <a:rPr lang="pt-BR" sz="2200" kern="0" dirty="0">
                <a:latin typeface="+mj-lt"/>
              </a:rPr>
              <a:t>Repasse de Depósitos Judiciais ao </a:t>
            </a:r>
            <a:r>
              <a:rPr lang="pt-BR" sz="2200" kern="0" dirty="0" smtClean="0">
                <a:latin typeface="+mj-lt"/>
              </a:rPr>
              <a:t>Município </a:t>
            </a:r>
            <a:r>
              <a:rPr lang="pt-BR" sz="2200" kern="0" dirty="0">
                <a:latin typeface="+mj-lt"/>
              </a:rPr>
              <a:t>– Decreto 16.107 Out/15.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pt-BR" sz="2400" b="0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5" name="Imagem 2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tângulo 8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999822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Educacao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88640"/>
            <a:ext cx="2416175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ítulo 5"/>
          <p:cNvSpPr txBox="1">
            <a:spLocks/>
          </p:cNvSpPr>
          <p:nvPr/>
        </p:nvSpPr>
        <p:spPr bwMode="auto">
          <a:xfrm>
            <a:off x="323528" y="692696"/>
            <a:ext cx="7931224" cy="922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rincipais Metas/Resultados</a:t>
            </a:r>
            <a:endParaRPr kumimoji="0" lang="pt-BR" sz="3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Espaço Reservado para Conteúdo 2"/>
          <p:cNvSpPr txBox="1">
            <a:spLocks/>
          </p:cNvSpPr>
          <p:nvPr/>
        </p:nvSpPr>
        <p:spPr bwMode="auto">
          <a:xfrm>
            <a:off x="395536" y="1772816"/>
            <a:ext cx="8352928" cy="4824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pt-BR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Atendimento do Programa Escola Integrada: 65 mil vagas;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pt-BR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grama Escola Aberta: 1,6 milhão de participações;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pt-BR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grama Escola nas Férias: 98 mil participações;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kumimoji="0" lang="pt-BR" sz="2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rograma Saúde na Escola: atendimento a 98 mil alunos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pt-BR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pic>
        <p:nvPicPr>
          <p:cNvPr id="8" name="Imagem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95536" y="1700808"/>
            <a:ext cx="8352928" cy="4824536"/>
          </a:xfrm>
        </p:spPr>
        <p:txBody>
          <a:bodyPr/>
          <a:lstStyle/>
          <a:p>
            <a:r>
              <a:rPr lang="pt-BR" sz="2400" dirty="0" smtClean="0"/>
              <a:t>Ações de Vigilância da Dengue: realização de 3,7 milhões de vistorias;</a:t>
            </a:r>
          </a:p>
          <a:p>
            <a:r>
              <a:rPr lang="pt-BR" sz="2400" dirty="0" smtClean="0"/>
              <a:t>Rede de Urgência do SUS-BH: 1,1 milhão de atendimentos;</a:t>
            </a:r>
          </a:p>
          <a:p>
            <a:r>
              <a:rPr lang="pt-BR" sz="2400" dirty="0" smtClean="0"/>
              <a:t>Atenção Primária à Saúde do SUS-BH: 3,2 milhões de consultas;</a:t>
            </a:r>
          </a:p>
          <a:p>
            <a:r>
              <a:rPr lang="pt-BR" sz="2400" dirty="0" smtClean="0"/>
              <a:t>Rede Hospitalar do SUS-BH: 223.000 internações;</a:t>
            </a:r>
          </a:p>
          <a:p>
            <a:r>
              <a:rPr lang="pt-BR" sz="2400" dirty="0" smtClean="0"/>
              <a:t>Entrega do Hospital Metropolitano;</a:t>
            </a:r>
          </a:p>
          <a:p>
            <a:r>
              <a:rPr lang="pt-BR" sz="2400" dirty="0" smtClean="0"/>
              <a:t>100 Academias da Cidade em funcionamento;</a:t>
            </a:r>
          </a:p>
          <a:p>
            <a:r>
              <a:rPr lang="pt-BR" sz="2400" dirty="0" smtClean="0"/>
              <a:t>Ampliação de 2 </a:t>
            </a:r>
            <a:r>
              <a:rPr lang="pt-BR" sz="2400" dirty="0" err="1" smtClean="0"/>
              <a:t>UPAs</a:t>
            </a:r>
            <a:r>
              <a:rPr lang="pt-BR" sz="2400" dirty="0" smtClean="0"/>
              <a:t> - Unidades de Pronto Atendimento.</a:t>
            </a:r>
          </a:p>
          <a:p>
            <a:endParaRPr lang="pt-BR" sz="2400" dirty="0" smtClean="0"/>
          </a:p>
        </p:txBody>
      </p:sp>
      <p:pic>
        <p:nvPicPr>
          <p:cNvPr id="4" name="Picture 8" descr="CidadeSaudavel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28" y="260648"/>
            <a:ext cx="3640137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ítulo 5"/>
          <p:cNvSpPr txBox="1">
            <a:spLocks/>
          </p:cNvSpPr>
          <p:nvPr/>
        </p:nvSpPr>
        <p:spPr bwMode="auto">
          <a:xfrm>
            <a:off x="323528" y="692696"/>
            <a:ext cx="7931224" cy="922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rincipais Metas/Resultados</a:t>
            </a:r>
            <a:endParaRPr kumimoji="0" lang="pt-BR" sz="3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pic>
        <p:nvPicPr>
          <p:cNvPr id="7" name="Imagem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23528" y="1628800"/>
            <a:ext cx="8229600" cy="2232248"/>
          </a:xfrm>
        </p:spPr>
        <p:txBody>
          <a:bodyPr/>
          <a:lstStyle/>
          <a:p>
            <a:r>
              <a:rPr lang="pt-BR" sz="2400" dirty="0" smtClean="0"/>
              <a:t>Programa Operação Oxigênio: 12.000 fiscalizações;</a:t>
            </a:r>
          </a:p>
          <a:p>
            <a:r>
              <a:rPr lang="pt-BR" sz="2400" dirty="0" smtClean="0"/>
              <a:t>Cobertura dos Serviços de Limpeza de Vias em Áreas Urbanas: 659 mil km;</a:t>
            </a:r>
          </a:p>
          <a:p>
            <a:r>
              <a:rPr lang="pt-BR" sz="2400" dirty="0" smtClean="0"/>
              <a:t>Coleta de Resíduos Sólidos: 666 mil Toneladas.</a:t>
            </a:r>
            <a:endParaRPr lang="pt-BR" dirty="0"/>
          </a:p>
        </p:txBody>
      </p:sp>
      <p:pic>
        <p:nvPicPr>
          <p:cNvPr id="4" name="Picture 9" descr="Sustentavel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23528" y="260648"/>
            <a:ext cx="4205288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ítulo 5"/>
          <p:cNvSpPr txBox="1">
            <a:spLocks/>
          </p:cNvSpPr>
          <p:nvPr/>
        </p:nvSpPr>
        <p:spPr bwMode="auto">
          <a:xfrm>
            <a:off x="251520" y="764704"/>
            <a:ext cx="7931224" cy="922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rincipais Metas/Resultados</a:t>
            </a:r>
            <a:endParaRPr kumimoji="0" lang="pt-BR" sz="3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pic>
        <p:nvPicPr>
          <p:cNvPr id="8" name="Imagem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/>
          <p:cNvSpPr txBox="1">
            <a:spLocks/>
          </p:cNvSpPr>
          <p:nvPr/>
        </p:nvSpPr>
        <p:spPr bwMode="auto">
          <a:xfrm>
            <a:off x="251520" y="764704"/>
            <a:ext cx="7931224" cy="922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rincipais Metas/Resultados</a:t>
            </a:r>
            <a:endParaRPr kumimoji="0" lang="pt-BR" sz="3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10" name="Picture 20" descr="Mobilidade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188640"/>
            <a:ext cx="4670425" cy="644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Espaço Reservado para Conteúdo 2"/>
          <p:cNvSpPr txBox="1">
            <a:spLocks/>
          </p:cNvSpPr>
          <p:nvPr/>
        </p:nvSpPr>
        <p:spPr bwMode="auto">
          <a:xfrm>
            <a:off x="251520" y="1628800"/>
            <a:ext cx="8229600" cy="3024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r>
              <a:rPr lang="pt-BR" sz="2400" dirty="0" smtClean="0">
                <a:latin typeface="+mn-lt"/>
                <a:cs typeface="+mn-cs"/>
              </a:rPr>
              <a:t>Nova Rodoviária, no Bairro São Gabriel;</a:t>
            </a:r>
          </a:p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  <a:defRPr/>
            </a:pPr>
            <a:r>
              <a:rPr lang="pt-BR" sz="2400" dirty="0" smtClean="0">
                <a:latin typeface="+mn-lt"/>
                <a:cs typeface="+mn-cs"/>
              </a:rPr>
              <a:t>Início da implantação de Corredor Rápido de Ônibus Av. Amazonas;</a:t>
            </a:r>
          </a:p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  <a:defRPr/>
            </a:pPr>
            <a:r>
              <a:rPr lang="pt-BR" sz="2400" dirty="0" smtClean="0">
                <a:latin typeface="+mn-lt"/>
                <a:cs typeface="+mn-cs"/>
              </a:rPr>
              <a:t>Continuidade Projeto </a:t>
            </a:r>
            <a:r>
              <a:rPr lang="pt-BR" sz="2400" dirty="0" err="1" smtClean="0">
                <a:latin typeface="+mn-lt"/>
                <a:cs typeface="+mn-cs"/>
              </a:rPr>
              <a:t>Mobicentro</a:t>
            </a:r>
            <a:r>
              <a:rPr lang="pt-BR" sz="2400" dirty="0" smtClean="0">
                <a:latin typeface="+mn-lt"/>
                <a:cs typeface="+mn-cs"/>
              </a:rPr>
              <a:t>;</a:t>
            </a:r>
          </a:p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  <a:defRPr/>
            </a:pPr>
            <a:r>
              <a:rPr lang="pt-BR" sz="2400" dirty="0" smtClean="0">
                <a:latin typeface="+mn-lt"/>
                <a:cs typeface="+mn-cs"/>
              </a:rPr>
              <a:t>Projeto Pedala BH: mais 60 km de ciclovias;</a:t>
            </a:r>
          </a:p>
          <a:p>
            <a:pPr marL="342900" indent="-342900" eaLnBrk="0" hangingPunct="0">
              <a:spcBef>
                <a:spcPct val="20000"/>
              </a:spcBef>
              <a:buFont typeface="Arial" charset="0"/>
              <a:buChar char="•"/>
              <a:defRPr/>
            </a:pPr>
            <a:r>
              <a:rPr lang="pt-BR" sz="2400" dirty="0" smtClean="0">
                <a:latin typeface="+mn-lt"/>
                <a:cs typeface="+mn-cs"/>
              </a:rPr>
              <a:t>Plano Diretor de Logística Urbana.</a:t>
            </a:r>
          </a:p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Char char="•"/>
              <a:tabLst/>
              <a:defRPr/>
            </a:pPr>
            <a:endParaRPr kumimoji="0" lang="pt-BR" sz="24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Retângulo 6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pic>
        <p:nvPicPr>
          <p:cNvPr id="8" name="Imagem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95536" y="1844824"/>
            <a:ext cx="8229600" cy="4525963"/>
          </a:xfrm>
        </p:spPr>
        <p:txBody>
          <a:bodyPr/>
          <a:lstStyle/>
          <a:p>
            <a:r>
              <a:rPr lang="pt-BR" sz="2400" dirty="0" smtClean="0"/>
              <a:t>Implantação </a:t>
            </a:r>
            <a:r>
              <a:rPr lang="pt-BR" sz="2400" dirty="0" smtClean="0"/>
              <a:t>do Vila Viva - </a:t>
            </a:r>
            <a:r>
              <a:rPr lang="pt-BR" sz="2000" dirty="0" smtClean="0"/>
              <a:t>Morro das Pedras, </a:t>
            </a:r>
            <a:r>
              <a:rPr lang="pt-BR" sz="2000" dirty="0" err="1" smtClean="0"/>
              <a:t>Taquaril</a:t>
            </a:r>
            <a:r>
              <a:rPr lang="pt-BR" sz="2000" dirty="0" smtClean="0"/>
              <a:t>, Califórnia, Pedreira Prado Lopes, Vila Cemig/Alto das Antenas, Serra, São Tomás/Aeroporto, Santa Lúcia</a:t>
            </a:r>
            <a:r>
              <a:rPr lang="pt-BR" sz="2400" dirty="0" smtClean="0"/>
              <a:t>;</a:t>
            </a:r>
          </a:p>
          <a:p>
            <a:r>
              <a:rPr lang="pt-BR" sz="2400" dirty="0"/>
              <a:t>Produção de 733 Unidades Habitacionais – Reassentamento</a:t>
            </a:r>
            <a:r>
              <a:rPr lang="pt-BR" sz="2400" dirty="0" smtClean="0"/>
              <a:t>.</a:t>
            </a:r>
          </a:p>
          <a:p>
            <a:r>
              <a:rPr lang="pt-BR" sz="2400" dirty="0" smtClean="0"/>
              <a:t>Programa </a:t>
            </a:r>
            <a:r>
              <a:rPr lang="pt-BR" sz="2400" dirty="0"/>
              <a:t>Bolsa Moradia: 2.850 famílias beneficiadas </a:t>
            </a:r>
            <a:r>
              <a:rPr lang="pt-BR" sz="2000" dirty="0"/>
              <a:t>(Áreas de Risco, Vila Viva, etc</a:t>
            </a:r>
            <a:r>
              <a:rPr lang="pt-BR" sz="2000" dirty="0" smtClean="0"/>
              <a:t>.)</a:t>
            </a:r>
            <a:r>
              <a:rPr lang="pt-BR" sz="2400" dirty="0" smtClean="0"/>
              <a:t>;</a:t>
            </a:r>
            <a:endParaRPr lang="pt-BR" sz="2400" dirty="0" smtClean="0"/>
          </a:p>
          <a:p>
            <a:r>
              <a:rPr lang="pt-BR" sz="2400" dirty="0" smtClean="0"/>
              <a:t>Regularização de </a:t>
            </a:r>
            <a:r>
              <a:rPr lang="pt-BR" sz="2400" dirty="0" smtClean="0"/>
              <a:t>5.905 domicílios em vilas </a:t>
            </a:r>
            <a:r>
              <a:rPr lang="pt-BR" sz="2400" dirty="0" smtClean="0"/>
              <a:t>e </a:t>
            </a:r>
            <a:r>
              <a:rPr lang="pt-BR" sz="2400" dirty="0" smtClean="0"/>
              <a:t>favelas;</a:t>
            </a:r>
            <a:endParaRPr lang="pt-BR" sz="2400" dirty="0" smtClean="0"/>
          </a:p>
          <a:p>
            <a:pPr marL="0" indent="0">
              <a:buNone/>
            </a:pPr>
            <a:endParaRPr lang="pt-BR" dirty="0"/>
          </a:p>
        </p:txBody>
      </p:sp>
      <p:pic>
        <p:nvPicPr>
          <p:cNvPr id="4" name="Picture 17" descr="VilasVivas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260648"/>
            <a:ext cx="6037262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ítulo 5"/>
          <p:cNvSpPr txBox="1">
            <a:spLocks/>
          </p:cNvSpPr>
          <p:nvPr/>
        </p:nvSpPr>
        <p:spPr bwMode="auto">
          <a:xfrm>
            <a:off x="467544" y="692696"/>
            <a:ext cx="7931224" cy="922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rincipais Metas/Resultados</a:t>
            </a:r>
            <a:endParaRPr kumimoji="0" lang="pt-BR" sz="3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pic>
        <p:nvPicPr>
          <p:cNvPr id="7" name="Imagem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95536" y="1844824"/>
            <a:ext cx="8229600" cy="4525963"/>
          </a:xfrm>
        </p:spPr>
        <p:txBody>
          <a:bodyPr/>
          <a:lstStyle/>
          <a:p>
            <a:r>
              <a:rPr lang="pt-BR" sz="2400" dirty="0" smtClean="0"/>
              <a:t>Regularização </a:t>
            </a:r>
            <a:r>
              <a:rPr lang="pt-BR" sz="2400" dirty="0" smtClean="0"/>
              <a:t>de </a:t>
            </a:r>
            <a:r>
              <a:rPr lang="pt-BR" sz="2400" dirty="0" smtClean="0"/>
              <a:t>331 moradias implantadas pela PBH</a:t>
            </a:r>
            <a:r>
              <a:rPr lang="pt-BR" sz="2400" dirty="0" smtClean="0"/>
              <a:t>;</a:t>
            </a:r>
            <a:endParaRPr lang="pt-BR" sz="2400" dirty="0" smtClean="0"/>
          </a:p>
          <a:p>
            <a:r>
              <a:rPr lang="pt-BR" sz="2400" dirty="0" smtClean="0"/>
              <a:t>Titulação de 1.332 moradias implantadas pela PBH;</a:t>
            </a:r>
          </a:p>
          <a:p>
            <a:r>
              <a:rPr lang="pt-BR" sz="2400" dirty="0" smtClean="0"/>
              <a:t>Minha Casa Minha Vida: Produção </a:t>
            </a:r>
            <a:r>
              <a:rPr lang="pt-BR" sz="2400" dirty="0" smtClean="0"/>
              <a:t>de </a:t>
            </a:r>
            <a:r>
              <a:rPr lang="pt-BR" sz="2400" dirty="0" smtClean="0"/>
              <a:t>260 </a:t>
            </a:r>
            <a:r>
              <a:rPr lang="pt-BR" sz="2400" dirty="0" smtClean="0"/>
              <a:t>Unidades Habitacionais </a:t>
            </a:r>
            <a:r>
              <a:rPr lang="pt-BR" sz="2400" dirty="0" smtClean="0"/>
              <a:t>e 8.068 Unidades Habitacionais a iniciar (faixa 1).</a:t>
            </a:r>
            <a:endParaRPr lang="pt-BR" sz="2400" dirty="0" smtClean="0"/>
          </a:p>
          <a:p>
            <a:endParaRPr lang="pt-BR" dirty="0"/>
          </a:p>
        </p:txBody>
      </p:sp>
      <p:pic>
        <p:nvPicPr>
          <p:cNvPr id="4" name="Picture 17" descr="VilasVivas.jpg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536" y="260648"/>
            <a:ext cx="6037262" cy="576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ítulo 5"/>
          <p:cNvSpPr txBox="1">
            <a:spLocks/>
          </p:cNvSpPr>
          <p:nvPr/>
        </p:nvSpPr>
        <p:spPr bwMode="auto">
          <a:xfrm>
            <a:off x="467544" y="692696"/>
            <a:ext cx="7931224" cy="9221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3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rincipais Metas/Resultados</a:t>
            </a:r>
            <a:endParaRPr kumimoji="0" lang="pt-BR" sz="3200" b="1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5" name="Retângulo 4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pic>
        <p:nvPicPr>
          <p:cNvPr id="7" name="Imagem 2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61627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3600" b="1" dirty="0" smtClean="0"/>
              <a:t>Contatos Ouvidoria do Município</a:t>
            </a:r>
            <a:endParaRPr lang="pt-BR" sz="3600" b="1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27784" y="1484784"/>
            <a:ext cx="4328716" cy="2576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/>
          <a:srcRect l="73924" t="77956" r="16052" b="11864"/>
          <a:stretch>
            <a:fillRect/>
          </a:stretch>
        </p:blipFill>
        <p:spPr bwMode="auto">
          <a:xfrm>
            <a:off x="7884368" y="0"/>
            <a:ext cx="1259632" cy="7190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CaixaDeTexto 5"/>
          <p:cNvSpPr txBox="1"/>
          <p:nvPr/>
        </p:nvSpPr>
        <p:spPr>
          <a:xfrm>
            <a:off x="1982019" y="4581128"/>
            <a:ext cx="7293022" cy="12926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Tx/>
              <a:buChar char="-"/>
            </a:pPr>
            <a:r>
              <a:rPr lang="pt-BR" dirty="0" smtClean="0"/>
              <a:t> </a:t>
            </a:r>
            <a:r>
              <a:rPr lang="pt-BR" sz="2000" dirty="0" smtClean="0"/>
              <a:t>Sítio eletrônico: </a:t>
            </a:r>
            <a:r>
              <a:rPr lang="pt-BR" sz="2000" b="1" u="sng" dirty="0" smtClean="0">
                <a:hlinkClick r:id="rId4"/>
              </a:rPr>
              <a:t>http://ouvidoriageral.pbh.gov.br/tag</a:t>
            </a:r>
            <a:r>
              <a:rPr lang="pt-BR" sz="2000" u="sng" dirty="0" smtClean="0"/>
              <a:t>.</a:t>
            </a:r>
            <a:endParaRPr lang="pt-BR" sz="2000" dirty="0" smtClean="0"/>
          </a:p>
          <a:p>
            <a:pPr>
              <a:buFontTx/>
              <a:buChar char="-"/>
            </a:pPr>
            <a:r>
              <a:rPr lang="pt-BR" sz="2000" dirty="0" smtClean="0"/>
              <a:t> Telefone: disque </a:t>
            </a:r>
            <a:r>
              <a:rPr lang="pt-BR" sz="2000" dirty="0" smtClean="0"/>
              <a:t>156</a:t>
            </a:r>
            <a:endParaRPr lang="pt-BR" sz="2000" dirty="0" smtClean="0"/>
          </a:p>
          <a:p>
            <a:pPr>
              <a:buFontTx/>
              <a:buChar char="-"/>
            </a:pPr>
            <a:r>
              <a:rPr lang="pt-BR" sz="2000" dirty="0" smtClean="0"/>
              <a:t> Presencial: Av. Santos Dumont, 363 – Centro – </a:t>
            </a:r>
            <a:r>
              <a:rPr lang="pt-BR" dirty="0" smtClean="0"/>
              <a:t>de 8h às 18 h</a:t>
            </a:r>
            <a:endParaRPr lang="pt-BR" sz="2000" dirty="0" smtClean="0"/>
          </a:p>
          <a:p>
            <a:pPr>
              <a:buFontTx/>
              <a:buChar char="-"/>
            </a:pPr>
            <a:endParaRPr lang="pt-BR" dirty="0"/>
          </a:p>
        </p:txBody>
      </p:sp>
      <p:pic>
        <p:nvPicPr>
          <p:cNvPr id="1032" name="Picture 8" descr="http://portalpbh.pbh.gov.br/pbh/ecp/images.do?evento=imagem&amp;urlPlc=icone_ouvidoria.gif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621979" y="4510966"/>
            <a:ext cx="443483" cy="432113"/>
          </a:xfrm>
          <a:prstGeom prst="rect">
            <a:avLst/>
          </a:prstGeom>
          <a:noFill/>
        </p:spPr>
      </p:pic>
      <p:pic>
        <p:nvPicPr>
          <p:cNvPr id="1034" name="Picture 10" descr="http://portalpbh.pbh.gov.br/pbh/ecp/images.do?evento=imagem&amp;urlPlc=Icone_telefones.gif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585467" y="4869160"/>
            <a:ext cx="432048" cy="432048"/>
          </a:xfrm>
          <a:prstGeom prst="rect">
            <a:avLst/>
          </a:prstGeom>
          <a:noFill/>
        </p:spPr>
      </p:pic>
      <p:pic>
        <p:nvPicPr>
          <p:cNvPr id="1036" name="Picture 12" descr="http://portalpbh.pbh.gov.br/pbh/ecp/images.do?evento=imagem&amp;urlPlc=bh_resolve_01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115616" y="5301208"/>
            <a:ext cx="938411" cy="24788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85346718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C:\Users\pr101060\Downloads\_MFR3600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715" r="21381"/>
          <a:stretch>
            <a:fillRect/>
          </a:stretch>
        </p:blipFill>
        <p:spPr bwMode="auto">
          <a:xfrm>
            <a:off x="0" y="1386594"/>
            <a:ext cx="9143999" cy="5472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Imagem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0498" y="89780"/>
            <a:ext cx="3824999" cy="1205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394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AutoShape 2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4820" name="AutoShape 4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1" name="CaixaDeTexto 1"/>
          <p:cNvSpPr txBox="1">
            <a:spLocks noChangeArrowheads="1"/>
          </p:cNvSpPr>
          <p:nvPr/>
        </p:nvSpPr>
        <p:spPr bwMode="auto">
          <a:xfrm>
            <a:off x="325626" y="123484"/>
            <a:ext cx="7054686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3200" b="1" dirty="0">
                <a:solidFill>
                  <a:schemeClr val="tx2"/>
                </a:solidFill>
              </a:rPr>
              <a:t>Estimativa das Receitas / </a:t>
            </a:r>
            <a:r>
              <a:rPr lang="pt-BR" sz="3200" b="1" dirty="0" smtClean="0">
                <a:solidFill>
                  <a:schemeClr val="tx2"/>
                </a:solidFill>
              </a:rPr>
              <a:t>2016</a:t>
            </a:r>
            <a:endParaRPr lang="pt-BR" sz="3200" b="1" dirty="0">
              <a:solidFill>
                <a:schemeClr val="tx2"/>
              </a:solidFill>
              <a:latin typeface="Arial Narrow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7839113" y="6197963"/>
            <a:ext cx="9813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Fonte: SOF</a:t>
            </a:r>
            <a:endParaRPr lang="pt-BR" sz="1200" i="1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7520054" y="665844"/>
            <a:ext cx="9957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Em R$ 1,00</a:t>
            </a:r>
            <a:endParaRPr lang="pt-BR" sz="1200" i="1" dirty="0"/>
          </a:p>
        </p:txBody>
      </p:sp>
      <p:sp>
        <p:nvSpPr>
          <p:cNvPr id="16" name="Retângulo 15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pic>
        <p:nvPicPr>
          <p:cNvPr id="23" name="Imagem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312213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4" name="Tabel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1587805"/>
              </p:ext>
            </p:extLst>
          </p:nvPr>
        </p:nvGraphicFramePr>
        <p:xfrm>
          <a:off x="1331639" y="1000108"/>
          <a:ext cx="6912770" cy="4921769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448273"/>
                <a:gridCol w="1440160"/>
                <a:gridCol w="1507746"/>
                <a:gridCol w="1516591"/>
              </a:tblGrid>
              <a:tr h="47767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RECEIT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RECURSOS ORDINÁRIOS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RECURSOS VINCULADOS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TOTAL ESTIMADO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22177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 Receitas Correntes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7.267.183.235</a:t>
                      </a:r>
                      <a:endParaRPr lang="pt-BR" sz="11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2.938.784.372</a:t>
                      </a:r>
                      <a:endParaRPr lang="pt-BR" sz="11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10.205.967.607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</a:tr>
              <a:tr h="22177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 Receita Tributária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3.371.363.053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b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3.371.363.053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</a:tr>
              <a:tr h="22177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 Receita de Contribuição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126.388.000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225.133.646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351.521.646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</a:tr>
              <a:tr h="22177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 Receita Patrimonial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133.826.00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32.751.926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166.577.926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</a:tr>
              <a:tr h="22177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 Receita de Serviços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118.941.00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42.721.548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161.662.548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</a:tr>
              <a:tr h="22177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Transferências Correntes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2.720.036.90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2.612.535.869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5.332.572.769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</a:tr>
              <a:tr h="22177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Outras Receitas Correntes 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796.628.282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25.641.383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822.269.665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</a:tr>
              <a:tr h="22177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Receitas de Capital</a:t>
                      </a:r>
                      <a:endParaRPr lang="pt-BR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82.000.000</a:t>
                      </a:r>
                      <a:endParaRPr lang="pt-BR" sz="11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1.678.769.273</a:t>
                      </a:r>
                      <a:endParaRPr lang="pt-BR" sz="11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1.760.769.273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</a:tr>
              <a:tr h="22177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 Operação de Crédito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740" marR="6740" marT="6740" marB="0" anchor="b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1.060.095.522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1.060.095.522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</a:tr>
              <a:tr h="22177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 Alienação de Bens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77.000.00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77.000.00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</a:tr>
              <a:tr h="22177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/>
                        <a:t> Transferência Capital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740" marR="6740" marT="6740" marB="0" anchor="b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618.673.751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618.673.751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</a:tr>
              <a:tr h="22177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 Outras Receitas de Capital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5.000.00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740" marR="6740" marT="6740" marB="0" anchor="b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5.000.000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</a:tr>
              <a:tr h="22177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 Receita Intraorçamentári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                              </a:t>
                      </a:r>
                      <a:r>
                        <a:rPr lang="pt-BR" sz="1100" u="none" strike="noStrike" dirty="0" smtClean="0"/>
                        <a:t>  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709.871.344</a:t>
                      </a:r>
                      <a:endParaRPr lang="pt-BR" sz="11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709.871.344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</a:tr>
              <a:tr h="22177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 Receita de Contribuição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393.076.092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393.076.092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</a:tr>
              <a:tr h="22177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 Receita Patrimonial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2.932.219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2.932.219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</a:tr>
              <a:tr h="22177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 Receita de Serviços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285.764.435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285.764.435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</a:tr>
              <a:tr h="22177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Outras Receitas Correntes 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26.535.907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26.535.907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</a:tr>
              <a:tr h="22177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 Aporte de Capital Empresas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740" marR="6740" marT="6740" marB="0" anchor="b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1.562.691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1.562.691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</a:tr>
              <a:tr h="221778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200" u="none" strike="noStrike" dirty="0"/>
                        <a:t> Dedução Rec. Formação </a:t>
                      </a:r>
                      <a:r>
                        <a:rPr lang="pt-BR" sz="1200" u="none" strike="noStrike" dirty="0" err="1"/>
                        <a:t>Fundeb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-399.517.800</a:t>
                      </a:r>
                      <a:endParaRPr lang="pt-BR" sz="11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 </a:t>
                      </a:r>
                      <a:endParaRPr lang="pt-BR" sz="11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-399.517.800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/>
                </a:tc>
              </a:tr>
              <a:tr h="230308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TOTAL 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6.949.665.435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5.327.424.989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12.277.090.424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740" marR="6740" marT="674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193243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AutoShape 2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4820" name="AutoShape 4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1" name="CaixaDeTexto 1"/>
          <p:cNvSpPr txBox="1">
            <a:spLocks noChangeArrowheads="1"/>
          </p:cNvSpPr>
          <p:nvPr/>
        </p:nvSpPr>
        <p:spPr bwMode="auto">
          <a:xfrm>
            <a:off x="253618" y="123484"/>
            <a:ext cx="770275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2800" b="1" dirty="0">
                <a:solidFill>
                  <a:schemeClr val="tx2"/>
                </a:solidFill>
              </a:rPr>
              <a:t>Estimativa das Receitas / </a:t>
            </a:r>
            <a:r>
              <a:rPr lang="pt-BR" sz="2800" b="1" dirty="0" smtClean="0">
                <a:solidFill>
                  <a:schemeClr val="tx2"/>
                </a:solidFill>
              </a:rPr>
              <a:t>LOA 2015 e PLOA 2016</a:t>
            </a:r>
            <a:endParaRPr lang="pt-BR" sz="2800" b="1" dirty="0">
              <a:solidFill>
                <a:schemeClr val="tx2"/>
              </a:solidFill>
              <a:latin typeface="Arial Narrow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7884368" y="6581001"/>
            <a:ext cx="9813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Fonte: SOF</a:t>
            </a:r>
            <a:endParaRPr lang="pt-BR" sz="1200" i="1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7647650" y="665844"/>
            <a:ext cx="89319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Em R$ mil</a:t>
            </a:r>
            <a:endParaRPr lang="pt-BR" sz="1200" i="1" dirty="0"/>
          </a:p>
        </p:txBody>
      </p:sp>
      <p:sp>
        <p:nvSpPr>
          <p:cNvPr id="16" name="Retângulo 15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pic>
        <p:nvPicPr>
          <p:cNvPr id="23" name="Imagem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928" y="6517987"/>
            <a:ext cx="1080120" cy="340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3" name="Tabela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6147570"/>
              </p:ext>
            </p:extLst>
          </p:nvPr>
        </p:nvGraphicFramePr>
        <p:xfrm>
          <a:off x="1115617" y="980728"/>
          <a:ext cx="7272807" cy="5509613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295179"/>
                <a:gridCol w="1681631"/>
                <a:gridCol w="1861006"/>
                <a:gridCol w="1434991"/>
              </a:tblGrid>
              <a:tr h="412669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RECEIT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LOA 2015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PLOA 2016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AH 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242268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 dirty="0"/>
                        <a:t> Receitas Correntes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9.344.659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10.205.968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u="none" strike="noStrike"/>
                        <a:t>9,22%</a:t>
                      </a:r>
                      <a:endParaRPr lang="pt-BR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</a:tr>
              <a:tr h="242268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 dirty="0"/>
                        <a:t> Receita Tributária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3.155.456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3.371.363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u="none" strike="noStrike"/>
                        <a:t>6,84%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</a:tr>
              <a:tr h="242268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 dirty="0"/>
                        <a:t> Receita de Contribuição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97.621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351.522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u="none" strike="noStrike" dirty="0"/>
                        <a:t>18,11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</a:tr>
              <a:tr h="242268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 dirty="0"/>
                        <a:t> Receita Patrimonial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04.863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166.578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u="none" strike="noStrike" dirty="0"/>
                        <a:t>58,85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</a:tr>
              <a:tr h="242268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 dirty="0"/>
                        <a:t> Receita Agropecuária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5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u="none" strike="noStrike" dirty="0"/>
                        <a:t>-100,00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</a:tr>
              <a:tr h="242268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 dirty="0"/>
                        <a:t> Receita de Serviços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36.219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61.663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u="none" strike="noStrike" dirty="0"/>
                        <a:t>18,68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</a:tr>
              <a:tr h="242268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 dirty="0"/>
                        <a:t>Transferências Correntes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5.067.52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5.332.573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u="none" strike="noStrike" dirty="0"/>
                        <a:t>5,23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</a:tr>
              <a:tr h="242268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/>
                        <a:t>Outras Receitas Correntes 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582.975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822.27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u="none" strike="noStrike" dirty="0"/>
                        <a:t>41,05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</a:tr>
              <a:tr h="242268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 dirty="0"/>
                        <a:t> Receitas de Capital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.133.778</a:t>
                      </a:r>
                      <a:endParaRPr lang="pt-BR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.760.769</a:t>
                      </a:r>
                      <a:endParaRPr lang="pt-BR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u="none" strike="noStrike" dirty="0"/>
                        <a:t>-17,48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</a:tr>
              <a:tr h="242268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 dirty="0"/>
                        <a:t> Operação de Crédito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.161.195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.060.096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u="none" strike="noStrike" dirty="0"/>
                        <a:t>-8,71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</a:tr>
              <a:tr h="242268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/>
                        <a:t> Alienação de Bens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15.72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77.00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u="none" strike="noStrike" dirty="0"/>
                        <a:t>-33,46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</a:tr>
              <a:tr h="242268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 dirty="0"/>
                        <a:t> Transferência Capital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851.863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618.674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u="none" strike="noStrike" dirty="0"/>
                        <a:t>-27,37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</a:tr>
              <a:tr h="242268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 dirty="0"/>
                        <a:t> Outras Receitas de Capital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5.00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5.00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u="none" strike="noStrike" dirty="0"/>
                        <a:t>0,00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</a:tr>
              <a:tr h="242268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 dirty="0"/>
                        <a:t> Receita Intraorçamentária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671.576</a:t>
                      </a:r>
                      <a:endParaRPr lang="pt-BR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709.871</a:t>
                      </a:r>
                      <a:endParaRPr lang="pt-BR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u="none" strike="noStrike" dirty="0"/>
                        <a:t>5,70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</a:tr>
              <a:tr h="242268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 dirty="0"/>
                        <a:t> Receita de Contribuição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394.17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393.076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u="none" strike="noStrike" dirty="0"/>
                        <a:t>-0,28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</a:tr>
              <a:tr h="242268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 dirty="0"/>
                        <a:t> Receita Patrimonial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.811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.932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u="none" strike="noStrike" dirty="0"/>
                        <a:t>4,31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</a:tr>
              <a:tr h="242268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 dirty="0"/>
                        <a:t> Receita de Serviços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71.645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85.764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u="none" strike="noStrike" dirty="0"/>
                        <a:t>5,20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</a:tr>
              <a:tr h="242268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 dirty="0"/>
                        <a:t>Outras Receitas Correntes 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 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6.536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u="none" strike="noStrike" dirty="0"/>
                        <a:t> 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</a:tr>
              <a:tr h="242268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 dirty="0"/>
                        <a:t> Aporte de Capital Empresas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.95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.563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u="none" strike="noStrike" dirty="0"/>
                        <a:t>-47,03%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</a:tr>
              <a:tr h="242268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200" u="none" strike="noStrike" dirty="0"/>
                        <a:t> Dedução Rec. Formação </a:t>
                      </a:r>
                      <a:r>
                        <a:rPr lang="pt-BR" sz="1200" u="none" strike="noStrike" dirty="0" err="1"/>
                        <a:t>Fundeb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-398.019</a:t>
                      </a:r>
                      <a:endParaRPr lang="pt-BR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-399.518</a:t>
                      </a:r>
                      <a:endParaRPr lang="pt-BR" sz="12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u="none" strike="noStrike" dirty="0"/>
                        <a:t>0,38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/>
                </a:tc>
              </a:tr>
              <a:tr h="251584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200" b="1" u="none" strike="noStrike" dirty="0"/>
                        <a:t>TOTAL 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11.751.994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12.277.090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pt-BR" sz="1200" b="1" u="none" strike="noStrike" dirty="0"/>
                        <a:t>4,47%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068" marR="7068" marT="7068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193243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AutoShape 2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4820" name="AutoShape 4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1" name="CaixaDeTexto 1"/>
          <p:cNvSpPr txBox="1">
            <a:spLocks noChangeArrowheads="1"/>
          </p:cNvSpPr>
          <p:nvPr/>
        </p:nvSpPr>
        <p:spPr bwMode="auto">
          <a:xfrm>
            <a:off x="35496" y="179929"/>
            <a:ext cx="748883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3200" b="1" dirty="0" smtClean="0">
                <a:solidFill>
                  <a:schemeClr val="tx2"/>
                </a:solidFill>
              </a:rPr>
              <a:t>   Receita </a:t>
            </a:r>
            <a:r>
              <a:rPr lang="pt-BR" sz="3200" b="1" dirty="0">
                <a:solidFill>
                  <a:schemeClr val="tx2"/>
                </a:solidFill>
              </a:rPr>
              <a:t>Corrente Líquida*</a:t>
            </a:r>
          </a:p>
        </p:txBody>
      </p:sp>
      <p:sp>
        <p:nvSpPr>
          <p:cNvPr id="10" name="CaixaDeTexto 9"/>
          <p:cNvSpPr txBox="1"/>
          <p:nvPr/>
        </p:nvSpPr>
        <p:spPr>
          <a:xfrm>
            <a:off x="827584" y="6172451"/>
            <a:ext cx="12939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* Conforme LRF</a:t>
            </a:r>
            <a:endParaRPr lang="pt-BR" sz="1200" i="1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7736078" y="821149"/>
            <a:ext cx="9957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Em R$ 1,00</a:t>
            </a:r>
            <a:endParaRPr lang="pt-BR" sz="1200" i="1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7749938" y="5909931"/>
            <a:ext cx="9813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Fonte: SOF</a:t>
            </a:r>
            <a:endParaRPr lang="pt-BR" sz="1200" i="1" dirty="0"/>
          </a:p>
        </p:txBody>
      </p:sp>
      <p:sp>
        <p:nvSpPr>
          <p:cNvPr id="14" name="Retângulo 13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pic>
        <p:nvPicPr>
          <p:cNvPr id="19" name="Imagem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3" name="Tabela 12"/>
          <p:cNvGraphicFramePr>
            <a:graphicFrameLocks noGrp="1"/>
          </p:cNvGraphicFramePr>
          <p:nvPr/>
        </p:nvGraphicFramePr>
        <p:xfrm>
          <a:off x="1763688" y="1214425"/>
          <a:ext cx="6408712" cy="4576781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3958942"/>
                <a:gridCol w="2449770"/>
              </a:tblGrid>
              <a:tr h="304394">
                <a:tc>
                  <a:txBody>
                    <a:bodyPr/>
                    <a:lstStyle/>
                    <a:p>
                      <a:pPr algn="ctr" rtl="0" fontAlgn="b"/>
                      <a:r>
                        <a:rPr lang="pt-BR" sz="1400" b="1" u="none" strike="noStrike" dirty="0"/>
                        <a:t>DETALHAMENTO DA RECEITA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BR" sz="1400" b="1" u="none" strike="noStrike" dirty="0"/>
                        <a:t> PLOA 2016 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304394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400" u="none" strike="noStrike" dirty="0"/>
                        <a:t> Impostos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400" u="none" strike="noStrike" dirty="0"/>
                        <a:t>3.090.558.05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04394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400" u="none" strike="noStrike" dirty="0"/>
                        <a:t> Taxas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400" u="none" strike="noStrike" dirty="0"/>
                        <a:t>275.805.000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04394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400" u="none" strike="noStrike" dirty="0"/>
                        <a:t> Contribuição de Melhoria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400" u="none" strike="noStrike" dirty="0"/>
                        <a:t>5.000.000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04394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400" u="none" strike="noStrike" dirty="0"/>
                        <a:t> Contribuições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400" u="none" strike="noStrike" dirty="0"/>
                        <a:t>351.521.64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04394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400" u="none" strike="noStrike" dirty="0"/>
                        <a:t> Receita Patrimoni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400" u="none" strike="noStrike" dirty="0"/>
                        <a:t>166.577.92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04394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400" u="none" strike="noStrike" dirty="0"/>
                        <a:t> Receita de Serviços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400" u="none" strike="noStrike" dirty="0"/>
                        <a:t>161.662.54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04394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400" u="none" strike="noStrike" dirty="0"/>
                        <a:t> Transferências Intergovernamentais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400" u="none" strike="noStrike" dirty="0"/>
                        <a:t>5.230.070.180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04394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400" u="none" strike="noStrike" dirty="0"/>
                        <a:t> Transferências de Convênios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400" u="none" strike="noStrike" dirty="0"/>
                        <a:t>102.502.589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04394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400" u="none" strike="noStrike" dirty="0"/>
                        <a:t> Outras Receitas Correntes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400" u="none" strike="noStrike" dirty="0"/>
                        <a:t>822.269.665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04394">
                <a:tc>
                  <a:txBody>
                    <a:bodyPr/>
                    <a:lstStyle/>
                    <a:p>
                      <a:pPr algn="ctr" rtl="0" fontAlgn="b"/>
                      <a:r>
                        <a:rPr lang="pt-BR" sz="1400" b="1" u="none" strike="noStrike" dirty="0"/>
                        <a:t>Subtotal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400" b="1" u="none" strike="noStrike" dirty="0"/>
                        <a:t>10.205.967.607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304394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400" u="none" strike="noStrike" dirty="0"/>
                        <a:t> (-) Dedução da Contribuição dos Segurados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400" u="none" strike="noStrike" dirty="0"/>
                        <a:t>225.133.64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04394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400" u="none" strike="noStrike" dirty="0"/>
                        <a:t> (-) Dedução da Comp. entre Regimes 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400" u="none" strike="noStrike" dirty="0"/>
                        <a:t>4.334.97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04394">
                <a:tc>
                  <a:txBody>
                    <a:bodyPr/>
                    <a:lstStyle/>
                    <a:p>
                      <a:pPr algn="l" rtl="0" fontAlgn="b"/>
                      <a:r>
                        <a:rPr lang="pt-BR" sz="1400" u="none" strike="noStrike" dirty="0"/>
                        <a:t> (-) Dedução do Excedente do FUNDEB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400" u="none" strike="noStrike" dirty="0"/>
                        <a:t>399.517.800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315265">
                <a:tc>
                  <a:txBody>
                    <a:bodyPr/>
                    <a:lstStyle/>
                    <a:p>
                      <a:pPr algn="ctr" rtl="0" fontAlgn="b"/>
                      <a:r>
                        <a:rPr lang="pt-BR" sz="1400" b="1" u="none" strike="noStrike" dirty="0"/>
                        <a:t>TOTAL 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pt-BR" sz="1400" b="1" u="none" strike="noStrike" dirty="0"/>
                        <a:t>9.576.981.188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245725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AutoShape 2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4820" name="AutoShape 4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1" name="CaixaDeTexto 1"/>
          <p:cNvSpPr txBox="1">
            <a:spLocks noChangeArrowheads="1"/>
          </p:cNvSpPr>
          <p:nvPr/>
        </p:nvSpPr>
        <p:spPr bwMode="auto">
          <a:xfrm>
            <a:off x="253618" y="123484"/>
            <a:ext cx="7054686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3200" b="1" dirty="0" smtClean="0">
                <a:solidFill>
                  <a:schemeClr val="tx2"/>
                </a:solidFill>
              </a:rPr>
              <a:t>Síntese do Orçamento Consolidado/ 2016</a:t>
            </a:r>
            <a:endParaRPr lang="pt-BR" sz="3200" b="1" dirty="0">
              <a:solidFill>
                <a:schemeClr val="tx2"/>
              </a:solidFill>
              <a:latin typeface="Arial Narrow" pitchFamily="34" charset="0"/>
            </a:endParaRPr>
          </a:p>
        </p:txBody>
      </p:sp>
      <p:sp>
        <p:nvSpPr>
          <p:cNvPr id="10" name="CaixaDeTexto 9"/>
          <p:cNvSpPr txBox="1"/>
          <p:nvPr/>
        </p:nvSpPr>
        <p:spPr>
          <a:xfrm>
            <a:off x="6817623" y="5661248"/>
            <a:ext cx="9813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Fonte: SOF</a:t>
            </a:r>
            <a:endParaRPr lang="pt-BR" sz="1200" i="1" dirty="0"/>
          </a:p>
        </p:txBody>
      </p:sp>
      <p:sp>
        <p:nvSpPr>
          <p:cNvPr id="12" name="CaixaDeTexto 11"/>
          <p:cNvSpPr txBox="1"/>
          <p:nvPr/>
        </p:nvSpPr>
        <p:spPr>
          <a:xfrm>
            <a:off x="6810411" y="1490965"/>
            <a:ext cx="9957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Em R$ 1,00</a:t>
            </a:r>
            <a:endParaRPr lang="pt-BR" sz="1200" i="1" dirty="0"/>
          </a:p>
        </p:txBody>
      </p:sp>
      <p:sp>
        <p:nvSpPr>
          <p:cNvPr id="16" name="Retângulo 15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pic>
        <p:nvPicPr>
          <p:cNvPr id="23" name="Imagem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312213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3" name="Tabela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60848103"/>
              </p:ext>
            </p:extLst>
          </p:nvPr>
        </p:nvGraphicFramePr>
        <p:xfrm>
          <a:off x="1835695" y="1785926"/>
          <a:ext cx="5963287" cy="3803313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941531"/>
                <a:gridCol w="3021756"/>
              </a:tblGrid>
              <a:tr h="457050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1" u="none" strike="noStrike" dirty="0"/>
                        <a:t>RECEITAS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1" u="none" strike="noStrike" dirty="0"/>
                        <a:t>TOTAL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457050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600" u="none" strike="noStrike" dirty="0" err="1" smtClean="0"/>
                        <a:t>Adm</a:t>
                      </a:r>
                      <a:r>
                        <a:rPr lang="pt-BR" sz="1600" u="none" strike="noStrike" dirty="0" smtClean="0"/>
                        <a:t>. </a:t>
                      </a:r>
                      <a:r>
                        <a:rPr lang="pt-BR" sz="1600" u="none" strike="noStrike" dirty="0"/>
                        <a:t>Direta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600" u="none" strike="noStrike" dirty="0"/>
                        <a:t>11.922.166.986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457050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600" u="none" strike="noStrike" dirty="0"/>
                        <a:t>Adm. Indireta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600" u="none" strike="noStrike" dirty="0"/>
                        <a:t>354.923.438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457050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1" u="none" strike="noStrike" dirty="0"/>
                        <a:t>Total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600" b="1" u="none" strike="noStrike" dirty="0"/>
                        <a:t>12.277.090.424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457050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600" b="1" u="none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SPESAS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pt-BR" sz="1600" b="1" u="none" strike="noStrike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506021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600" u="none" strike="noStrike" dirty="0" err="1" smtClean="0"/>
                        <a:t>Adm</a:t>
                      </a:r>
                      <a:r>
                        <a:rPr lang="pt-BR" sz="1600" u="none" strike="noStrike" dirty="0" smtClean="0"/>
                        <a:t>. </a:t>
                      </a:r>
                      <a:r>
                        <a:rPr lang="pt-BR" sz="1600" u="none" strike="noStrike" dirty="0"/>
                        <a:t>Direta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600" u="none" strike="noStrike" dirty="0"/>
                        <a:t>10.976.998.272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506021">
                <a:tc>
                  <a:txBody>
                    <a:bodyPr/>
                    <a:lstStyle/>
                    <a:p>
                      <a:pPr algn="just" rtl="0" fontAlgn="ctr"/>
                      <a:r>
                        <a:rPr lang="pt-BR" sz="1600" u="none" strike="noStrike" dirty="0"/>
                        <a:t>Adm. Indireta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600" u="none" strike="noStrike" dirty="0"/>
                        <a:t>1.300.092.152</a:t>
                      </a:r>
                      <a:endParaRPr lang="pt-BR" sz="16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506021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600" b="1" u="none" strike="noStrike" dirty="0"/>
                        <a:t>Total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600" b="1" u="none" strike="noStrike" dirty="0"/>
                        <a:t>12.277.090.424</a:t>
                      </a:r>
                      <a:endParaRPr lang="pt-BR" sz="16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193243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AutoShape 2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4820" name="AutoShape 4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1" name="CaixaDeTexto 1"/>
          <p:cNvSpPr txBox="1">
            <a:spLocks noChangeArrowheads="1"/>
          </p:cNvSpPr>
          <p:nvPr/>
        </p:nvSpPr>
        <p:spPr bwMode="auto">
          <a:xfrm>
            <a:off x="323528" y="107921"/>
            <a:ext cx="7488832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3200" b="1" dirty="0">
                <a:solidFill>
                  <a:schemeClr val="tx2"/>
                </a:solidFill>
              </a:rPr>
              <a:t>Síntese dos Orçamentos das Empresas</a:t>
            </a:r>
          </a:p>
        </p:txBody>
      </p:sp>
      <p:sp>
        <p:nvSpPr>
          <p:cNvPr id="13" name="CaixaDeTexto 12"/>
          <p:cNvSpPr txBox="1"/>
          <p:nvPr/>
        </p:nvSpPr>
        <p:spPr>
          <a:xfrm>
            <a:off x="7314467" y="1245926"/>
            <a:ext cx="9957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Em R$ 1,00</a:t>
            </a:r>
            <a:endParaRPr lang="pt-BR" sz="1200" i="1" dirty="0"/>
          </a:p>
        </p:txBody>
      </p:sp>
      <p:sp>
        <p:nvSpPr>
          <p:cNvPr id="10" name="CaixaDeTexto 9"/>
          <p:cNvSpPr txBox="1"/>
          <p:nvPr/>
        </p:nvSpPr>
        <p:spPr>
          <a:xfrm>
            <a:off x="7314467" y="5933717"/>
            <a:ext cx="9813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Fonte: SOF</a:t>
            </a:r>
            <a:endParaRPr lang="pt-BR" sz="1200" i="1" dirty="0"/>
          </a:p>
        </p:txBody>
      </p:sp>
      <p:pic>
        <p:nvPicPr>
          <p:cNvPr id="15" name="Imagem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tângulo 15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graphicFrame>
        <p:nvGraphicFramePr>
          <p:cNvPr id="14" name="Tabel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969881"/>
              </p:ext>
            </p:extLst>
          </p:nvPr>
        </p:nvGraphicFramePr>
        <p:xfrm>
          <a:off x="997170" y="1643050"/>
          <a:ext cx="7311185" cy="4194338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686171"/>
                <a:gridCol w="941488"/>
                <a:gridCol w="786157"/>
                <a:gridCol w="786157"/>
                <a:gridCol w="1055606"/>
                <a:gridCol w="1055606"/>
              </a:tblGrid>
              <a:tr h="500066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1400" b="1" u="none" strike="noStrike" dirty="0"/>
                        <a:t> </a:t>
                      </a:r>
                      <a:r>
                        <a:rPr lang="pt-BR" sz="1400" b="1" u="none" strike="noStrike" dirty="0" smtClean="0"/>
                        <a:t>Item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u="none" strike="noStrike" noProof="0" dirty="0" err="1"/>
                        <a:t>Prodabel</a:t>
                      </a:r>
                      <a:r>
                        <a:rPr lang="pt-BR" sz="1400" b="1" u="none" strike="noStrike" noProof="0" dirty="0"/>
                        <a:t> </a:t>
                      </a:r>
                      <a:endParaRPr lang="pt-BR" sz="1400" b="1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u="none" strike="noStrike" noProof="0" dirty="0" err="1"/>
                        <a:t>Urbel</a:t>
                      </a:r>
                      <a:r>
                        <a:rPr lang="pt-BR" sz="1400" b="1" u="none" strike="noStrike" noProof="0" dirty="0"/>
                        <a:t> </a:t>
                      </a:r>
                      <a:endParaRPr lang="pt-BR" sz="1400" b="1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u="none" strike="noStrike" noProof="0" dirty="0" err="1"/>
                        <a:t>Belotur</a:t>
                      </a:r>
                      <a:r>
                        <a:rPr lang="pt-BR" sz="1400" b="1" u="none" strike="noStrike" noProof="0" dirty="0"/>
                        <a:t> </a:t>
                      </a:r>
                      <a:endParaRPr lang="pt-BR" sz="1400" b="1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u="none" strike="noStrike" noProof="0" dirty="0" err="1"/>
                        <a:t>BHTrans</a:t>
                      </a:r>
                      <a:r>
                        <a:rPr lang="pt-BR" sz="1400" b="1" u="none" strike="noStrike" noProof="0" dirty="0"/>
                        <a:t> </a:t>
                      </a:r>
                      <a:endParaRPr lang="pt-BR" sz="1400" b="1" i="0" u="none" strike="noStrike" noProof="0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u="none" strike="noStrike"/>
                        <a:t>TOTAL</a:t>
                      </a:r>
                      <a:endParaRPr lang="pt-BR" sz="1400" b="1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615712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 dirty="0"/>
                        <a:t> Receitas Correntes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2.249.142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860.00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838.620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20.740.000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24.687.762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</a:tr>
              <a:tr h="615712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 dirty="0"/>
                        <a:t> Receitas  Intraorçamentárias de Capit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.000.00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00.00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50.00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412.691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1.562.691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</a:tr>
              <a:tr h="61571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u="none" strike="noStrike" dirty="0"/>
                        <a:t>Total Receitas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3.249.142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960.000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888.620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21.152.691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26.250.453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615712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 dirty="0"/>
                        <a:t> Despesas Correntes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2.049.142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860.00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838.62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20.740.000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24.487.762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</a:tr>
              <a:tr h="615712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400" u="none" strike="noStrike" dirty="0"/>
                        <a:t> Despesas de Capit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.200.00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100.00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/>
                        <a:t>50.000</a:t>
                      </a:r>
                      <a:endParaRPr lang="pt-BR" sz="12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412.691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u="none" strike="noStrike" dirty="0"/>
                        <a:t>1.762.691</a:t>
                      </a:r>
                      <a:endParaRPr lang="pt-BR" sz="12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/>
                </a:tc>
              </a:tr>
              <a:tr h="615712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b="1" u="none" strike="noStrike" dirty="0"/>
                        <a:t>Total Despesas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3.249.142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960.000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888.620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21.152.691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200" b="1" u="none" strike="noStrike" dirty="0"/>
                        <a:t>26.250.453</a:t>
                      </a:r>
                      <a:endParaRPr lang="pt-BR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7257" marR="7257" marT="7257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183607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AutoShape 2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34820" name="AutoShape 4" descr="data:image/jpeg;base64,/9j/4AAQSkZJRgABAQAAAQABAAD/2wCEAAkGBxQSEhIUEBMWFRQVFxUWFhgWFBQYFhgYFBUXGBQaFBcYHCggGBsmHhQVITEhJSktLi4uGB8zODMsNygtMCsBCgoKDg0OGxAQGy0kICYsLCwsLzQsLCwsLCwsLCwsLCw0LCwsLCwsLCwsLCwsLCwsLCwsLCwsLCwsLCwsLCwsLP/AABEIAQwAvAMBEQACEQEDEQH/xAAcAAEAAQUBAQAAAAAAAAAAAAAAAgEDBAUGBwj/xABEEAACAQIDBQUDCgQFAgcAAAABAgMAEQQSIQUGMUFREyJhcZEUgZIHFiMyQlJiscHhM3Kh0RWCotLwsvEkU1Rjc5TC/8QAGwEBAAIDAQEAAAAAAAAAAAAAAAEFAgMEBgf/xAA7EQACAQMCAwUGBQIFBQEAAAAAAQIDBBESIQUxQRMUUWFxIjKBkbHRBkKhwfBS4RUzU4LxI0OSorIW/9oADAMBAAIRAxEAPwD01EFhoOA5VvOIlkHQelAMg6D0oBkHQelAMg6D0oBkHQelAMg6D0oBkHQelAMg6D0oBkHQelAMg6D0oBkHQelAMg6D0oBkHQelAMg6D0oBkHQelAMg6D0oBkHQelAMg6D0oBkHQelAMg6D0oBkHQelAMg6D0oCSoOg9KkEU4DyFQDzzaeLn9qxzGTEdtAA2Dw6dqIXVVBLsE0l65SdTca8B0JLSv1MNzAl3t2ioiGZCzmfIUwzuJjGsZVQlgw7zlM1hw8LmezgQpPqb/ZW82JfaBhmiywkyR2Ecl43S5VpJCMpDhGIsSLMvPjg4JQyuZkm2zB2hvDjTipuzhK9hHiwkYWUl8pj7OSQWCvfimXXVhz1yUI4XwGW2X49s45tm4iUMpnSVFikSOwdC0WYhJF1tnkW+UfVPS9RphrS6EZek12yt58dGzy41H7MywZ1WIkxxtHOLIv2bskWp69TWThF7RIjJ9TOh23tJnRysaRAYNpEKHO3tbqmRDx0u2ulre6sdMPqZNswZN58ezYiRYxGUiVezyTMIb4nKWlUizPlzG6gjLY20tU9nBYRjlm8j2/i12fHN2aSzNKYy2SQRiPtHVZ2RRnyEKp0A0YG3KsNEdWDJt4NHgd6MbH7ErozJZWmvFK0jpJJJmfOVsqooTiQ17cr22OnF5ITZk70LiTitoNHJMqQ4TMipJMozPGRdFXusQQx8NOdrRDGlZ8Sd8moxE+MX2lu1xILzph1yGaRo1yiR2jiuBwVRcG+rcNb5JR2MdzfbQ2zim2ZBKUkWZZVjxFs8bgRs6sxKqSoLCMmw4MRa1YKMdbRLbwYkW8ePCAm/wBHh1YloGPav7SYGlNkDCLKRIQFDWHjepcIEp7ksPvXjMmDaRWuZnjnRICJpBo0TxK62yFWAOgN+Fr6OzjlojLM/c7FTtiWWftQrQSZQTMVumNnViC5NmylOfC1tLVjUSS2MlzOWxOMxDRYgQzY2OIYhR3vaZJUiVHAcyGzd+TICgPd56cdiUU1nBju9zNY7QWPFrfEZRHhZJWEjCUXwjNMIC97EyWzBNRYgAX0j2NgmzvNjYE2imlMglaNe0QykpmKIGOT6t7pe/ietaJPoZI21YkigFASWpBBOA8hUA1v+Ox55kAkPY5u0YITGCiB2XN1sR4Hhe9ZaGRnfBiPtqFuynaGbMCEiJiOZvaBeyC+oIjF/dU6HyDa5l75yxWTKsrl2kTIsbZ1aK3aK6NYqRmHrTQxqxuZOO2usSwllkJmYKiKl3zFGksVvoQqNfyqFHJO5ipvNE2Ts0mkLx9oMkZJC52TvAkEHMrD3VOhmOpGU+2IljmlZiqQu6OSD9ZDlIUC5a5IAtqb1Gl5wTkbN2skzOgWRJEClklQo+V75WAPFTlIuOYINqOLW4TyW49vwkRtmIWTt7EiwHs+btS33QMja00MakYw3qgyu7CVAsTTjPE6GSJACzR342uuhsdRpU6GTkvQ7xRMwQiRHLxx5HjKsDKrNGSD9kiN9R0NRoZGpFo70Qq0iyLNGYoxI+eIiys2RBpc5mbRV4mxtU6HzJyJt6oESRpe0i7Ix51kjZXVZmyo9uaE31F7WPSnZt8iMk8ZvLFH2htIwjdY2aNMwDOsbJqDwImQA9TRQbDlguR7eVpOzEU+a0Zb6PRO1+rn17vA38qjRtkaja3rEkpQFb0BSgFAKAUAoCS1IIJwHkKgGgxW7KyYhpzLYlZF7scavaSMx5XkUBpEFyQrcwNdK2KbSwRjJZwm6XZRqkcqIVkikVkw0SHNErLdwv1yc3E9PGjqZ3f1Iwxi9zkkC55A7CSWV2lhikEjyqikmMgKLCNQLDQAUVQyx1MzbWwFxMUEbuv0LBu9Cjo5EbR2aJu7bv3tyIFRGTTbGTX/ADKQGEiRWMSZF7XDxSBfpXkBjDaR2L5QBwCgcqy7QjDMybdwuJ0aduymkeXKEQMjs4dGV9T3WVSLjW1Y6+uBjcy9m7MMcjzTTGWVlWO5VUVUQswCqvUsxJPHwAqHLbCQS8zXQ7l4dct1Um2JErBFV5VxIcFXYa90PYeQrLtGRgrNusZEZJsS8n0EmHjJSNciygK7HL9d7KoubDThrRTxyRlgu4bdeONrxsQvbx4gAi5BjjKZc5NypvcA8De2h0hzI0lqHdY9nLHLiGcSt2jN2aLJ2odXjkz63KlFAW1rAC1hUupvlIJFx9285LzzNJIWw5zZEVQmGl7VUCDSxa9yb8fC1FUxyQx4kYN0444Z4Y3ZUlmjlAsD2fZmIqi/h+hAHQG3KnaPKYaLuK3cV8X7VmTN9Ho0EbsvZ/8AlyN3kvfiPCoU8R0jBvKwJFAKAUAoBQCgKE0BNakEE4DyFQDTvu4haZlklTtlKtkKKRmlaVijBcwJLEHXh61nrIcSC7uABAs8wCGQ/XGdu0KXUta2UKhXhfW9w2payNJGHdWNShWXEd0xm3bsQ3Zklc9+OrOT1zeAs1snSZm0tixzqFdnFixBDXILCxsXvbwHDwrFSwMFqXYIMryiaXO2ewLkxjOhQd3Q2FyQARxNZatsEaTGG6iak4jEliCubtQCBZgACq8AJGGt+N/ra1PaeQ0kMfubBNk7R5DkSNBqh/hq6hixQkse0NzfkOVFUY0m52bs9IFZY72Z2c5iSbvq2p8dfMk1i3klLBlViSKAUAoBQCgFAKAUBRmA40GSoNAWJZiD4VJi5YZL2gUGtEZXDKbdaEN5RCOcgVJhqZkpwHkKxNxWgFAKAUAoBQCgFAKAUAoBQCgFAW3mANjepMXLBbbEEHhQjU0yDyG9weOtCHJ5DyZhryP50Ibyi0DQxJycF8vyNDJkKGJcT6re6hkuTIrQxM1OA8hUG8rQCgFAKAUAoBQCgFAKAUAoBQCgMbFrwNSa5lp+R8Py0oYsqRcD3j9f1oOZUIbG45fkaE4YWEmg0sk0R7oPU0Ja5Jk/Zh1oToQaMBTY9KgYwi4sK/8ADUjSiScB5CoMytAULAcTQZLZnFDHWiPtI6GpI1lRiR0NBrRJZgedQZKSLgoSKAUAoBQCgFAKAt4hbr5a0MZci2/I5ba+HOpIZKW+h00IoGVNzxIoTuW04Dv28KELlzDgWHevqNelA8YGVOp/57qEYiVstmy9KgnbGwUp4/1qTHMS52gAF+gqDY2kWHxBPDSpMHJ9C1QwFAKAUAoCSMRwrGcowi5S5GUVJvCMlZTzFeeuPxFSi8UouXm9l9y0pWE377wO0NV3/wCiuf6Y/J/c6Vw+n4v+fAqJPCuih+I55/6sNvL7P7mufD1+Vkw169DbXtC5WaUs+XX5HBUozpv2kVrqNQNAQMo60I1Ig2IXxoRqRZzC3DWpMMokXWxsDQnKKiVfu0J1LwCEfdvx6daEZRJiLfVI4Hhx1oTzXIZh9w+lBnyK5tD3SNDyoTnyJq7fd/rQjL8DBU6DyFDWVoBQCgFARlkCgsxsACSTyA4k1DaSyzKEJTkoxWW9kVU34VPMhpp4ZWhBJWtVZecJt7ndrEvFfv4nXRvKlLbmvAuq168Ze2FW0npmtuj6P+/kXdC4hWWY/IlXGdArKM5QeqLwzFpPZkXJ616Cz/EE4ezXWpePX7Mrq/D1Lem8eXQssp516ShxC2rrMJr05Mq6ltVg/aRS1dMqsIrLkl8TUoSeyTFqwp3FGq8Qmn6NMmdKcPeTQrcYCgFAKAqG8aE5K9oepoMsFz1PrQZYBqSCCcB5CoBWgFAKAUBRlBBB1B0PkeNMZ2ZMW4tNc0cXhtpvgpXha7xKdBzCnVSpPgRpwv0qrjWlQm4PdHuK3D6PFbeNxD2ZtbvxfXK9evM63BYxJlzRsGH9QehHI1ZQnGazFnjrm1q209FVYf6P0fUyKyOcA1rrUadaDhUWUzOE5QeqL3Lqyda8ldfh6tGbdF5j5vDXl4fEuKXEqbX/AFNmVD1W1eG16O9bEV5tfRZb+R0xuoT9zL+BIGuWappey2/hhfXJui5N7orWkzIs1q7LKyqXdTRH4vwX86GivXjRjqZaLmvX23BLWjiWG5eOWvoU1S/qz25IjVwcQoBQCgFAKAUBJaAgnAeQoCtAKAUBGRrAm17Amw4nwFQ3hZMoR1SSbxktYLGJMgeM3U/08COR8KiE1NZRtubarbVHTqrDOX34w1mjkHMFD5rqv5n0qvvobqR6z8L3GYTovpuvjzNBgMa8Lh4zY8xyYdGHMVyU6koPMT0N1aUrqn2dRZX6r0PQtlbQWdA6+TLzU8watlLt6T0vD+jPnN5Zzsq+iayua81/OZsQgrxj4vf0ZOEpbrbdLoWKsreaUkuZyfyke2x4YTbPkKmMkyoERiyEfWGZSbrbgORPSrDhvGKlap2dd8+T5b+G3ia6tlTgswR4zNv5tFuOMlH8pC/9IFXErG3ctUoJvz3+prVSSWEy1DvttBTcYyc/zSMw9GuKh2Fq+dNfIdrPxOk3e+UjabOEBjnvx7SMABeZZo8th4m/v4VyVeC2k1smvR/cmd66UXKT2PTsHvZG9hMpQ9R3l/uK7rG3pWtPs4/F+JQ1OKKvPM9vA3sUgYAqQQeBBuKsMpm1NNZROhIoBQCgFAKAUBJaAgnAeQoCtAKAUAoDz84x8LiZez4B2uvJluSAehseP/aqbtJUaj0+PI+i91pcQsqfac9Kw+qeP5ldTpMayY3DN2WrCzBT9ZWXkfMXHvrvm43FL2TzNtGrwm+Xbe7yz0afX4eBwn/P+9VB73Zm03e2l2EoJPceyv5cm91/S9dFtV7Ofkyr4xYK7t2l7y3X7r4/XB6Mklc3E+CyuKrrUWsvmn4+p4q1vlTjomuRcEg61QVOE3kHvTb9MMsY3lGX5jznff5MosTmmweWGY6snCKQ89B/DbxGh6a3q74dXvoYp1qcmvHqvuc1WVB7xkjzbD7kTBrYm0VuK/Wf+nd99/Wr1vBT1+JUqeVHdnV7P2fHAuWJbDmftN4k86wbKKvcVLh5kbBsI4XMVIU8C2l/5b8fdTBrdKeM42LuztpSQm8bW6qdVPmP1rJSa5E060qbzFksbtSWY99zbkq6L7gOPvo5Nkzr1Kj3fwOt2FsdolBkkcsdSgYhB4W5mt0IY5lnQoSgsybZua2HSKAUAoBQEloCCcB5CgK0AoBQCgOW2vuu8jvIkiksScrAjjyzC9/Sq+rZylJyTPWcP/ENKjSjRqQaSWMrf9DmiJcPJbvRyL7j/Yj+lcXt05eDPTp297RztOL/AJ8H8mVxmOMurqmfm4Uqx/mscp87XpOo57tbi3tI2+1NvT4N5S9Oq+Zi1rOo6LZ28k4VUWIS5QBoHLWGgva/rau2ld1cYxk83ecCs3J1JT0Z81j9Tp49oXhaXs3UqrEowKtdRcgXGvnVnRl2mOh469od2k4qSkujTTyv2fkV2XtSPELmibhxU6MvmP14VuqUpU3hnHTqxmsxK7S2ZHOLSDUcGGjDyP6VolFS5ipSjUXtHL48wYUlYR2kw+05DBPdaxb8q0vTHZcyvqOnR2hvL6GjxE7OxZ2LMeZrB7nFKUpPMi3UEF7COFdCeAZSfIMCalGdN4kvU9OrrL8UAoBQCgFASWgIJwHkKArQCgFACaA0G0d7YIzZLykfdtl+I8fdeuqnZzksvY5ql3COy3OY3i34UQsz4VHtYKGe9ixtyUEczoeVYXlnGNPU936HZwriNSNdKDaXXD5/sczs7eOGdsoHZseCngf5TfX8689UoSjufRLLilCt7GWn59fidJsbZjYiTKNFGrt0Hh4nl+1RRourLC5G7iXEIWVLXLm9kvF/ZdT0HBYNIkCRiwHqT1J5mriEIwWInzq6uqtzUdSq8v6ehdkTMCOoI9Ratie5zvdHkmHlaNgUJV15g2Iq9aUluUabjLYz5vlKU/QMwWTgZh9Ty/C3jw8qorrQpYplv2VxKhlLf9i0NeGt+Fud+HnXEUkotPD5mfhNjTyfVjIHVu6P6/pWSi2bYW9WXJFzbeyfZxEC2YsGLHlcW0HrUzjpJr0OyxvzNZasDQdduNt9MVFIitdsOwjbxW3cYeGjL/k8a6abyi/p0p06UdfM6WszIUAoBQCgJLQEE4DyFAVoBQEZHCgliAALkngAOJNSll4Qbwef7x7xtOSkZKxehfxboPD18LW3tlDeW7Kuvcue0eRz9dZyGh3zf6FB1f8AJT/eq3iT9hLzLfhMfbk/I5GFCzKF1JIAtxueFqqUm9kXmcbvofQXydTD2fsmN5U1dub34H3Wy+4HnXXK07uljrz9Svq8SqXs8zfu7L0/udZWs1lC1tToBRg+fd8NvfTTxQGyiSQF+BIzHReg8f8Ah317xyjohyJtLKKfay3zujkb1wFmdp8l2LlbHYeG94yWYg6hcis91P2dVHhrUxWWclzb05rXJbo99recxqd5NmGePu/XS5Xx6r79PSsKkcrY57qj2kNuaPKt7NomCEgaO5KDkR98+BHDzIrnRz8Ot+0q5fKP1Nd8km0zDtCNL92dWiOul7ZkNuZzKB/mNbYvDL+uswPfK3HAKAUAoBQEloCCcB5CgK0AoDid9NtZiYIz3V/iEc2H2fIc/HyqytKGFrl8Cvu62+hHJ13nAKA0O+aXhQ9H/NT/AGqt4ivYT8y34TL25LyMXc/Z3GZhwuqef2j+nrWrh9HL7R9ORv4ncaY9muvM7fYm0DBMknK9n8VP1v7+4VZVqeuDiU1GpommepA3Fxr0qkexdHE7y7TldijK0aDgp0LW5k8D5DSuapJvYqbqtUbw1hHjW9KWxUw8QfiUH9ahcj0Nk828PQ1NSdJ6N8iGDzYyaTlHCR/mkdbf0VqzhzNFw8Rwe2VtOIUByG/O4SbQXPG/ZzqDYn+G97fXA1B0HeHvBqk4jxF2deKlHMWt/Hn/ADYsbGgpwk1zz+x40dnTbOxsIxKGNo5Y38GCuDmRuDLpxFd9CvTrRU6byjZODWUz6VIrsKopQCgFAKAktAQTgPIUBWgNRvNtX2eElT9I/dTw6t7vztXRb0u0n5I0XFXs4eZ5qTVyU7KUAoDE2rhO1idBxIFr9Qbj8re+tFxS7Sm4rmdNpWVKqpPl1L+Fw4jRUXgoA8+p95uffWdKGiCiuhrr1XVqOb6lythqPRNzcf2uHCk96LuH+X7B9NP8tVF3T01M+JbWtTVDHgbySMMLMAw6EAj0Ncp0NJ8zyff7dmA4piFKFlQ9w25ZeBuPs12ULOnUp55M55Xk7eShFLByM26I+xL7mX9Qf0pLhr/LI3Q4tH80T0b5HtiNh4sSz2LO6LdSSLRqTzA5yVySoypPEjdK5hXScD0RUvVPe8ZpWtXs5RbfPpj6nVQspVo6k1gGM1rt+P2tR4nmPry+ayZVOHVYrK3Kxca5vxFBTowrR3w8fM28Nk41JQZrt5t34MbCYsQtxxVhYOjfeQ8vLgedUHDKtaFxGNLm3jHRosrhR7NuXQz7E17mvfW9B4qTSfh1+XM8/ToVanuxBQ1ot+LWteWiEt/NNZM6lnWprMl+5SrE5hQCgJLQEE4DyFAVJoDzHeLaftEzMD3F7qfyjn7zc+nSrqhS7OGOvUp7iprn5GrreaBQCgFAKAUB0O5GLyYjIeEilfeveX8iPfXJeQzTz4HXaTxPHieg1UlocJv9HaaNusdvhZv9wq0sX7DXmVt6vaT8jmK7TiPR9zosuFj/ABF2/wBRA/oBVPdvNVlvarFJG+ja1eW45w6dwo1aSy1s11a/sXVhcxp5jLky7evIOnNPDTz/ADyLnVFrOSmldUO8QouPKD6PZfBPr6GpqlKafNoE9awtadxJuVBPKW+On/JlVlTWFNorXNJNP2uZsWMbCoJ5lqQCvZcFu7utHFSOYr83X+/qUd9SoweYvfw/nIhXoCuFASWgIJwHkKA0W+O0OygKg96Xuj+X7Z9NP81dVpT1zz4HNdVNEMLqed1blSKAUAoBQFJHCgljYDUnpWMpKKy+RnCnKb0x5llMbEfqyIfJ1/vWCr03ykvmbJW1aLw4v5GRhsesbq4dbowYd4fZN6iU6ck1qXzQhSqxknpfyZ69DIHVXU3VgGUjgQwuCD5GqFVacpOMZJteZdOEkstNHI/KFH/Ab/5B/wBBH61aWL5orr5cmcdVgV56psOPLh4B/wC2h95UE/nVHWeaj9S7pLEEvIzjwJOgFySeg41V3vEaVrhS3k+SXM7KFtOtuuXiRwOIilUPDIkin7SMrL6rpXnLzjd4m46dHw3+b/YtKNhRW7eTJOlU8FVuqyjluUnjd5OyWilBvkkUte1d6r93uKlKhLCbST847fJvKefE0aFVpxlNZ8V5Mgwtwq2s6tDimYXEFrXVbNr+dDirxqWuJU37LKZzVhT4LZwedOfVtnNK+rSWM4I1aJJLCORtvdipAoCS0BBOA8hQHnO9+O7XEMAe7H3B5j659bj3Cre1p6aefEqbqeqePA0ldRzCgFAKAUAqGs7EptPKOM3g2IYiXjF4z/o8D4dD7vOjurV0nlcvoeksryNaOmXvfU0dcZ3H0R8k+0/aNmxAm7QloW/yWKf6GQe6vGcWpyt7xzg8N7r+epYUMTp6WT+UGP6GM9JLeqN/tr2/4dvXdUtUveWzPMcYodk8Llk4S1ekZSJZPX4Y7BV6AD0Fq87VqKEZTlyWWy/hByaijV7840QbPxb3seyZQfxSDs1t73FeDt5yvL+M5dXn4LoejcFSo6UfOex9qT4eQPhZHSTQDLz6ArwYeBBr2dalTqx01FlHApOO62PpLd7aT4jCwySpkkZfpFHAMCVa2psLi9uV7Vw8N4VC2qSq8+kfJff9jnub3t4qMeXXzNpG/Wq3jPCZubr0VnPvLwfiv3OqyvI47OfwZJxoaqeE1HTvIY6vD+Ox2XkNVCXpn5FmvoJ5wUAoBQEloDDfEdw5R3svdvwvbS/heslz3Ib22OHO6k5Ny8dzqTmb/bVn3ymujKzuk31RT5pzfej+Jv8AbTvtPzI7nPyIndSfrH8Tf7anvlPzHdJ+RE7rT/g+L9qnvlPzHdJ+RE7s4j7q/GtO90vEd0qFPm1iPuD41/vU97peJHdagG7WI+4PjX+9O90vEd1qEhuxP91fjFYu6pP/AIMla1E8r6ml2h8mLvrHkjPQNdfS2nu08K4KtOhLeDa+haULmtHaok/qdP8AJhsDEbP9oTEMhjkyMuRmNmW4NwVFrgj4a83xjhlW5UXSxlfQtLe+pwzq2Om3pwvtEGSMjNmBFzppxvp0JrP8Mwq2lSpCtFrk/qufyObi7hcU4um8nKYbdaYOpYx2DKTZmvYEXt3a9dK7g01uUMbWaabO9XEC/P0rz/EaNStbSp0ub2+5c21SEKqlLkjm/lGwntWCeJGK99GY2v3VOulx1B91UvDeEV7Wr2tTHJrZ5O284nT7NuKbOB2TsGPD2KqS54O2ra6d3kPdV23k8zcXtWv7L2R6XBjY8LDGkhsQvAcSSbtYeZNdCagtzqU4UYJSZaTeyE8VceJUfoahVUYK9pPxNvFjQwBF7EXFxyPnWqdlb1JqpKCyt08bnfG4mo4T2ZX2kdDXVg15HtI6GmBke0joaYGR7SOhpgZJLifCmCMmInAeVSCtAKAVAFSBQCgFCBQFyGEtw4dar7/iVGzj7e7fJfzkjqt7WdZ7bLxMxMIo46+deTr8du6j9l6V5JfV7lxT4fRgt1n1LOIhW1wbGrThnEryUlCrFyT64w19M/U5Lu1oqLlB4fganaeEaRbJIyHwOh8GtrXpZxbKOtTc44TwcfiO0jYq5YMPxN6g3rmeUVU3UhLD+rMrA7VkHdd8ynQq+oIPEFuK1KmzZSrz5N/MzJMH2KrJYtlv2QIN+/que33e95m1ZadO5vdLs4qfPGcfH7GnlLyMS2ZmPHQk+4WrW8tnHJSm8vL+Ztti7EYsHmWyjUKeLHxHIVtp0+rOm3tW3qmdRXQWYoBQCgFAVFCGRTgPKhJWgFAKAUAoBQCgArCbai3FZfh4kxSbWXgz48QgFh+RrxdfhHEK03Vmst+aL2ne21OKgnsvIkcSvWuaHB77VhQa88r7m131vj3jExE+bhoP+ca9Tw3hULT25bzfXw8l9ypurt1tltEs1bHEYm0NnpMLPxHBhxFYygpczVUpRqczVJuyL96QlegWx9b1r7HzOZWSzuzfRIFAVdAAAPIcK3JYO1JJYJXoSKkCgFAKAUAoCooQyKcB5UJK0AoBQCgFAKAUAoBQCgFAKAUAoBQCgFAKAozAC5IAHEkgD1NYVKkKazJ4CTfIs+2R8mv4hJCPULbkfSuN8SoeL+TM9DJxzoxsrAnpqG+FgDW2le0Kjwpb+e31IcGXK6jEqKEMinAeVCStAKAUAoBQCgFAKAUAoBQCgFAKAUAoBQChBjpsl8XNkU2SMDMx4AsL8OZ5W/DVBdwndXDhF4Udv55nTTpatjMxYhw57HPiJShUN2SwkIWGYXDDNez3sL8etYyo0qWISqP9PsbXJR2WXgptXdountEEhlDAPqLOQRcMLcT4WBrVccPmk6lOTfl1JlT1LUi1E+ZVbqAT5/a/qDV5Z1e1oRn5HHNYkTFdRgyKcB5UJK0AoBQCgFAKAUAoBQCgFAKAUAoBQCgFAKA6jdiC0JbnI8jHyzlV/wBKiqu1XsuT6tv9dizprETC21hFVioYjtzf/MCgJAOl/q1UcVVelWhUh7Sl7OHy+Xr8jtt+za0tefqb7B4cRoqLeyiwubnSr2nHTBRZzyeXk47aEASSRRoA7W8mAfT47e6lklHXBdJP9d/3K64WJFgV3HOzFxDW7PUi7qNOeh0/X3VKDMmoJFAKAUAoBQCgFAKAUAoBQCgFAKAUAoCqHUeYrGXJkrmdTsNmGDgKrmbskIF7XLAE68uNV9p/kx9Cyh7qOX2zAGxGdy8LjVlGIw9rMLcHQk6Rg8dOVuUXNGhU2qSNbclUU1Jpr0Ov2ZPIwGdLLlUhzIrFr+Cgctb+NdKSS2ZtTb5nPbeP08g6ZD6rb/8ANYW3+bU+H0OS55mAK7TlZiYvhFpf6ROumh10qYhmVUEigFAKAUAoBQCgFAKAUAoBQCgFAKAUBVeIvWLWVgLmY+A31eJIsJDhmkniTISSAp7MWJUDVhp4VU06koQ7OK3WxujdtYhGOWbGLaeLYAyM8cmpKLFEVFmYaE3zcF59awbry5yx6JG+M5tb/QxsRvpiMNmOIgzRBrBrrHJZi2TMlzYkIxtYcDWcK1ZP2llfI1TupU95R2IDagxTPOqMivlADWv3F14eLEe6uu0etymuv7GupV7T2kTWu01MgFuBfwoSSoBQCgFAKAUAoBQCgFAKAUAoBQCgFAKAUBrNqbFjnOY3V7WzLzFrd4aX6aEG2l7aVzVbaNR6k8MwlBN56mtG6za/+Jk1v158fteA51zuyqf1L5P7mPZebMrD7tRr9d3fhcXKg24X1J0udQRxrKNivzybJVNI3MaBQAoAAFgBwA8K7YxUVhGwmtZEM6ePYEVh9bgPtftWjtGd/doEvm/F+L4v2p2jHdoD5vxfi+L9qdox3aA+b8X4vi/anaMd2gPm/F+L4v2p2jHdoD5vxfi+L9qdox3aA+b8X4vi/anaMd2garaMmzsO/Z4jFxRPYHLJiI0ax4HKxvanaMd2gRwmI2bKWEWMhcqpdsmIibKgsCzWOii41PWjqNbsyjaKTxFNsp7Vsz/1cP8A9iP+9Yd5j/Ujp/wev/py+TNjBsvDOoaNiysLhlcMCDwIIHCslVbWUc0rSMXpkmmjHfAxi94ZgBfvF4QLDncvwrLW/EwVvFvCTMGHH7Na98TGtvvYmA38srmtbuI/1I61wms/+3L5M2mF2fhZVDxSZ1N7MjhgbGxsV8QRWSqtrKZonZqEtMk0y7/gsH4vU/2qe0Zh3aBrGxOzASDjIbjj/wCIj5cedbNNZ/lfyMOzoeP6mdgNn4WdS0EglUHKWSRWFwASLrz1HrWMpTi8PYyjQpyWUZPzfi/F8X7Vj2jJ7tAfN+L8XxftTtGO7QHzfi/F8X7U7Rju0B834vxfF+1O0Y7tAfN+L8XxftTtGO7QHzfi/F8X7U7Rju0Co2BF+L4v2p2kh3aBsovqjyH5VgdBOgFAKAUAoAaA8t2zuSJ8TLiP8RwalnZgGwWHdlFwVBdpbsVCqM3hyqNSNnY1P6X8i9gtxY4Q4fG4ftmCKGGFgiCorK9iivdjeOMglrDKNNaxqR1LGTK2uoUKuqW+zWM45mbHuibXGMgsb95cOBfkxBWYAnjrrYk+VaHFR96SLNcUhNZjBv8A3ZX/AMm6wmzoYTDkd27FFRcoVhlAy2aw4mxvXTSnFw0xaaKmvKdSq6k1u22WsfgFeOZUkkRpLEs0WYXDAklRa4tmFrganpUSp7PDN1O4cZxlKOUvh9zlV3Wi4e1w6Dng4zyA4mXUnxrR2K/qX6Fr/icv9Kf/AJP7HWYLY2HijSPtguQHTOIzd2zNmQEAd4nQjS9q6YLQlEo7i4VepKpJ7+vLoSx+zYTFIgxIQyxyqGaUv/EFswDPrlK6dO8NLms1U0yTfQwVJ1IvRv5rc0uE3aKRhRj8MyKqxm8HdNh3c9sQAWsOfG1dCrwk/Zj57P8Asc8rapT9949V/c6fdyCKFDGkySO7vK5Ur3nc3dgoYkD3mtFRyk8teRtppRWEzc1rNgoBQCgFAKAUBCL6o8h+VAToBQCgFAKAxdqYTtoZYsxXtEZMwtcBhYkX86hrKwZ0p6JqeM4eTzPaGwtnwylJ8W1wbMBgozc21UOkBF9ORuKwVo5b/Ys/8dnFYS/9p/c6XBbtxzp20WIcpIWcHIU4npoRw5i+lS6eHuUtHVBPS1u87xi+fwJYzdKBsrNLMMihbh5FB7zNchSATdzr5ca4LqxjVeuUsL0i/qmdlvcOlHCXVvw5+Swixh5MDgiyGaXMSCbjFPrbQZlv97UX5jwrdZ2kKKemSb/2r6YIrXcpP2l+/wBclja+2sLLE8LSyKJUBJVnYhJNRdWYgXA5gaGu3u7qw25cvuRTvO71oz0rKw8bfDlg1Wzdg4GVIZTiX7FGGTMEGbsiVYcLgXGugvbThVTWo21rV01JPVzx/wAItaHFLmrrnShvLKb36/bobiPd3Ddm49ruJjmLEJcm+uU8LH+/jXZCdC8rRuIrLht12+a88nl+4zt6U7eU8at3tuXodzsO5PZy5soRdVViAqAAZhbmC9urX6VtrUo1ZOU0XNpdztaEaEFsl4vffn+3oYG0tzsHGVRpmQglyqwK6ksEUHJkYL/D87s3WttvWjbqUUuf86HFxK671OLqy93l1653Npuju9h45XxEMhkbvR/wkjCk5WbQIGJ0XieZrNV80lSXJerOenGE5uqnz8sHX1rOkUAoBQCgFAKAhF9UeQ/KgJ0AoBQCgFAKA0c+6uEZndoe87FmOeQXJNySA1uNZa5bbmDhHwNvh4FjRUQBVUAKBwAHACseZmlgxv8AC4c2bs1zcc32vXjRyfIx0rmY0u72HZmcxnM2pIkkF/cGtyFa9EcbpePLJk9+ZZO6mDYsxgW5Cg2Li4RQqcG5KoFb1UlFYTMNEW8tGTHsHDKqqsCZVuFGXhclmtfmSSSeZNcVezo16muosv1fT0Zvp1p01iDwi8mzIgABGoA0AA0Fzc2FbKFKFKOmCwjCo3OWZ7syYIFS+UWvW4jLZi4nZUUjFnW7GwJDOOHDgRWDinua5UYSeWtzIwmGWMZUFhe/Mkk8yTqTWSSXIyjFRWEX6kyFAKAUAoBQCgP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pt-BR" smtClean="0">
              <a:solidFill>
                <a:prstClr val="black"/>
              </a:solidFill>
              <a:latin typeface="Calibri" pitchFamily="34" charset="0"/>
            </a:endParaRPr>
          </a:p>
        </p:txBody>
      </p:sp>
      <p:sp>
        <p:nvSpPr>
          <p:cNvPr id="11" name="CaixaDeTexto 1"/>
          <p:cNvSpPr txBox="1">
            <a:spLocks noChangeArrowheads="1"/>
          </p:cNvSpPr>
          <p:nvPr/>
        </p:nvSpPr>
        <p:spPr bwMode="auto">
          <a:xfrm>
            <a:off x="35496" y="191542"/>
            <a:ext cx="7488832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3200" b="1" dirty="0" smtClean="0">
                <a:solidFill>
                  <a:schemeClr val="tx2"/>
                </a:solidFill>
              </a:rPr>
              <a:t>   Síntese </a:t>
            </a:r>
            <a:r>
              <a:rPr lang="pt-BR" sz="3200" b="1" dirty="0">
                <a:solidFill>
                  <a:schemeClr val="tx2"/>
                </a:solidFill>
              </a:rPr>
              <a:t>dos Orçamentos das </a:t>
            </a:r>
            <a:r>
              <a:rPr lang="pt-BR" sz="3200" b="1" dirty="0" smtClean="0">
                <a:solidFill>
                  <a:schemeClr val="tx2"/>
                </a:solidFill>
              </a:rPr>
              <a:t>Autarquias e   </a:t>
            </a:r>
          </a:p>
          <a:p>
            <a:pPr eaLnBrk="1" hangingPunct="1"/>
            <a:r>
              <a:rPr lang="pt-BR" sz="3200" b="1" dirty="0" smtClean="0">
                <a:solidFill>
                  <a:schemeClr val="tx2"/>
                </a:solidFill>
              </a:rPr>
              <a:t>   Fundações</a:t>
            </a:r>
            <a:endParaRPr lang="pt-BR" sz="3200" b="1" dirty="0">
              <a:solidFill>
                <a:schemeClr val="tx2"/>
              </a:solidFill>
            </a:endParaRPr>
          </a:p>
        </p:txBody>
      </p:sp>
      <p:sp>
        <p:nvSpPr>
          <p:cNvPr id="13" name="CaixaDeTexto 12"/>
          <p:cNvSpPr txBox="1"/>
          <p:nvPr/>
        </p:nvSpPr>
        <p:spPr>
          <a:xfrm>
            <a:off x="7963391" y="1408246"/>
            <a:ext cx="99578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Em R$ 1,00</a:t>
            </a:r>
            <a:endParaRPr lang="pt-BR" sz="1200" i="1" dirty="0"/>
          </a:p>
        </p:txBody>
      </p:sp>
      <p:sp>
        <p:nvSpPr>
          <p:cNvPr id="10" name="CaixaDeTexto 9"/>
          <p:cNvSpPr txBox="1"/>
          <p:nvPr/>
        </p:nvSpPr>
        <p:spPr>
          <a:xfrm>
            <a:off x="7978954" y="5697600"/>
            <a:ext cx="98135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200" i="1" dirty="0" smtClean="0"/>
              <a:t>Fonte: SOF</a:t>
            </a:r>
            <a:endParaRPr lang="pt-BR" sz="1200" i="1" dirty="0"/>
          </a:p>
        </p:txBody>
      </p:sp>
      <p:pic>
        <p:nvPicPr>
          <p:cNvPr id="16" name="Imagem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7225" y="6165304"/>
            <a:ext cx="1255712" cy="395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etângulo 16"/>
          <p:cNvSpPr/>
          <p:nvPr/>
        </p:nvSpPr>
        <p:spPr>
          <a:xfrm>
            <a:off x="0" y="0"/>
            <a:ext cx="179512" cy="68580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>
              <a:solidFill>
                <a:srgbClr val="336600"/>
              </a:solidFill>
            </a:endParaRPr>
          </a:p>
        </p:txBody>
      </p:sp>
      <p:graphicFrame>
        <p:nvGraphicFramePr>
          <p:cNvPr id="12" name="Tabela 11"/>
          <p:cNvGraphicFramePr>
            <a:graphicFrameLocks noGrp="1"/>
          </p:cNvGraphicFramePr>
          <p:nvPr/>
        </p:nvGraphicFramePr>
        <p:xfrm>
          <a:off x="714349" y="1857365"/>
          <a:ext cx="8034115" cy="3643339"/>
        </p:xfrm>
        <a:graphic>
          <a:graphicData uri="http://schemas.openxmlformats.org/drawingml/2006/table">
            <a:tbl>
              <a:tblPr>
                <a:tableStyleId>{BC89EF96-8CEA-46FF-86C4-4CE0E7609802}</a:tableStyleId>
              </a:tblPr>
              <a:tblGrid>
                <a:gridCol w="2171783"/>
                <a:gridCol w="781407"/>
                <a:gridCol w="876998"/>
                <a:gridCol w="969965"/>
                <a:gridCol w="852444"/>
                <a:gridCol w="710370"/>
                <a:gridCol w="781407"/>
                <a:gridCol w="889741"/>
              </a:tblGrid>
              <a:tr h="632701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1100" b="1" u="none" strike="noStrike" dirty="0"/>
                        <a:t> </a:t>
                      </a:r>
                      <a:r>
                        <a:rPr lang="pt-BR" sz="1100" b="1" u="none" strike="noStrike" dirty="0" smtClean="0"/>
                        <a:t>Item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FMC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HOB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FUNDAÇÃO ZOO-BOTÂNICA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FUNDAÇÃO PARQUES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SUDECAP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SLU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TOTAL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501773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100" u="none" strike="noStrike" dirty="0"/>
                        <a:t>Receitas Correntes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2.704.511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7.567.843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9.240.000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7.207.802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2.770.00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13.418.394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42.908.550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</a:tr>
              <a:tr h="501773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100" u="none" strike="noStrike" dirty="0"/>
                        <a:t>Receita Intraorçamentária Corrente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285.764.435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 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 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 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285.764.435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</a:tr>
              <a:tr h="5017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Total Receitas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2.704.511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293.332.278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9.240.000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7.207.802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2.770.000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13.418.394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328.672.985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  <a:tr h="501773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100" u="none" strike="noStrike" dirty="0"/>
                        <a:t>Despesas Correntes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2.329.511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289.930.164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8.640.00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6.889.802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2.490.000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13.118.394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323.397.871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</a:tr>
              <a:tr h="501773">
                <a:tc>
                  <a:txBody>
                    <a:bodyPr/>
                    <a:lstStyle/>
                    <a:p>
                      <a:pPr algn="l" rtl="0" fontAlgn="ctr"/>
                      <a:r>
                        <a:rPr lang="pt-BR" sz="1100" u="none" strike="noStrike" dirty="0"/>
                        <a:t>Despesas de Capital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375.00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3.402.114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600.00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/>
                        <a:t>318.000</a:t>
                      </a:r>
                      <a:endParaRPr lang="pt-BR" sz="11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280.000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300.000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u="none" strike="noStrike" dirty="0"/>
                        <a:t>5.275.114</a:t>
                      </a:r>
                      <a:endParaRPr lang="pt-BR" sz="11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/>
                </a:tc>
              </a:tr>
              <a:tr h="501773"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100" b="1" u="none" strike="noStrike" dirty="0"/>
                        <a:t>Total Despesas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2.704.511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293.332.278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9.240.000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7.207.802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2.770.000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13.418.394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rtl="0" fontAlgn="ctr"/>
                      <a:r>
                        <a:rPr lang="pt-BR" sz="1100" b="1" u="none" strike="noStrike" dirty="0"/>
                        <a:t>328.672.985</a:t>
                      </a:r>
                      <a:endParaRPr lang="pt-BR" sz="11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040" marR="6040" marT="604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0183607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XStRgbPE6Vhueor7ozuQ"/>
</p:tagLst>
</file>

<file path=ppt/theme/theme1.xml><?xml version="1.0" encoding="utf-8"?>
<a:theme xmlns:a="http://schemas.openxmlformats.org/drawingml/2006/main" name="Design padrão">
  <a:themeElements>
    <a:clrScheme name="Design padrão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sign padrão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sign padrã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sign padrão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sign padrão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659</TotalTime>
  <Words>2952</Words>
  <Application>Microsoft Office PowerPoint</Application>
  <PresentationFormat>Apresentação na tela (4:3)</PresentationFormat>
  <Paragraphs>1149</Paragraphs>
  <Slides>37</Slides>
  <Notes>30</Notes>
  <HiddenSlides>0</HiddenSlides>
  <MMClips>0</MMClips>
  <ScaleCrop>false</ScaleCrop>
  <HeadingPairs>
    <vt:vector size="4" baseType="variant">
      <vt:variant>
        <vt:lpstr>Tema</vt:lpstr>
      </vt:variant>
      <vt:variant>
        <vt:i4>2</vt:i4>
      </vt:variant>
      <vt:variant>
        <vt:lpstr>Títulos de slides</vt:lpstr>
      </vt:variant>
      <vt:variant>
        <vt:i4>37</vt:i4>
      </vt:variant>
    </vt:vector>
  </HeadingPairs>
  <TitlesOfParts>
    <vt:vector size="39" baseType="lpstr">
      <vt:lpstr>Design padrão</vt:lpstr>
      <vt:lpstr>1_Tema do Office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Principais Metas/Resultados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Contatos Ouvidoria do Município</vt:lpstr>
      <vt:lpstr>Apresentação do PowerPoint</vt:lpstr>
    </vt:vector>
  </TitlesOfParts>
  <Company>Hewlett-Packard Compan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windows</dc:creator>
  <cp:lastModifiedBy>dvieira29</cp:lastModifiedBy>
  <cp:revision>608</cp:revision>
  <cp:lastPrinted>2012-10-24T14:26:55Z</cp:lastPrinted>
  <dcterms:created xsi:type="dcterms:W3CDTF">2011-05-24T21:55:35Z</dcterms:created>
  <dcterms:modified xsi:type="dcterms:W3CDTF">2015-10-23T11:18:09Z</dcterms:modified>
</cp:coreProperties>
</file>